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3.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4.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5.xml" ContentType="application/vnd.openxmlformats-officedocument.them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4"/>
    <p:sldMasterId id="2147484057" r:id="rId5"/>
    <p:sldMasterId id="2147484074" r:id="rId6"/>
    <p:sldMasterId id="2147484091" r:id="rId7"/>
    <p:sldMasterId id="2147484099" r:id="rId8"/>
  </p:sldMasterIdLst>
  <p:notesMasterIdLst>
    <p:notesMasterId r:id="rId20"/>
  </p:notesMasterIdLst>
  <p:handoutMasterIdLst>
    <p:handoutMasterId r:id="rId21"/>
  </p:handoutMasterIdLst>
  <p:sldIdLst>
    <p:sldId id="717" r:id="rId9"/>
    <p:sldId id="716" r:id="rId10"/>
    <p:sldId id="689" r:id="rId11"/>
    <p:sldId id="729" r:id="rId12"/>
    <p:sldId id="734" r:id="rId13"/>
    <p:sldId id="685" r:id="rId14"/>
    <p:sldId id="718" r:id="rId15"/>
    <p:sldId id="719" r:id="rId16"/>
    <p:sldId id="733" r:id="rId17"/>
    <p:sldId id="698" r:id="rId18"/>
    <p:sldId id="720" r:id="rId19"/>
  </p:sldIdLst>
  <p:sldSz cx="12192000" cy="6858000"/>
  <p:notesSz cx="7010400" cy="9236075"/>
  <p:custDataLst>
    <p:tags r:id="rId22"/>
  </p:custDataLst>
  <p:defaultTextStyle>
    <a:defPPr>
      <a:defRPr lang="de-DE"/>
    </a:defPPr>
    <a:lvl1pPr marL="0" algn="l" defTabSz="1088239" rtl="0" eaLnBrk="1" latinLnBrk="0" hangingPunct="1">
      <a:defRPr sz="2133" kern="1200">
        <a:solidFill>
          <a:schemeClr val="tx1"/>
        </a:solidFill>
        <a:latin typeface="+mn-lt"/>
        <a:ea typeface="+mn-ea"/>
        <a:cs typeface="+mn-cs"/>
      </a:defRPr>
    </a:lvl1pPr>
    <a:lvl2pPr marL="544120" algn="l" defTabSz="1088239" rtl="0" eaLnBrk="1" latinLnBrk="0" hangingPunct="1">
      <a:defRPr sz="2133" kern="1200">
        <a:solidFill>
          <a:schemeClr val="tx1"/>
        </a:solidFill>
        <a:latin typeface="+mn-lt"/>
        <a:ea typeface="+mn-ea"/>
        <a:cs typeface="+mn-cs"/>
      </a:defRPr>
    </a:lvl2pPr>
    <a:lvl3pPr marL="1088239" algn="l" defTabSz="1088239" rtl="0" eaLnBrk="1" latinLnBrk="0" hangingPunct="1">
      <a:defRPr sz="2133" kern="1200">
        <a:solidFill>
          <a:schemeClr val="tx1"/>
        </a:solidFill>
        <a:latin typeface="+mn-lt"/>
        <a:ea typeface="+mn-ea"/>
        <a:cs typeface="+mn-cs"/>
      </a:defRPr>
    </a:lvl3pPr>
    <a:lvl4pPr marL="1632358" algn="l" defTabSz="1088239" rtl="0" eaLnBrk="1" latinLnBrk="0" hangingPunct="1">
      <a:defRPr sz="2133" kern="1200">
        <a:solidFill>
          <a:schemeClr val="tx1"/>
        </a:solidFill>
        <a:latin typeface="+mn-lt"/>
        <a:ea typeface="+mn-ea"/>
        <a:cs typeface="+mn-cs"/>
      </a:defRPr>
    </a:lvl4pPr>
    <a:lvl5pPr marL="2176476" algn="l" defTabSz="1088239" rtl="0" eaLnBrk="1" latinLnBrk="0" hangingPunct="1">
      <a:defRPr sz="2133" kern="1200">
        <a:solidFill>
          <a:schemeClr val="tx1"/>
        </a:solidFill>
        <a:latin typeface="+mn-lt"/>
        <a:ea typeface="+mn-ea"/>
        <a:cs typeface="+mn-cs"/>
      </a:defRPr>
    </a:lvl5pPr>
    <a:lvl6pPr marL="2720595" algn="l" defTabSz="1088239" rtl="0" eaLnBrk="1" latinLnBrk="0" hangingPunct="1">
      <a:defRPr sz="2133" kern="1200">
        <a:solidFill>
          <a:schemeClr val="tx1"/>
        </a:solidFill>
        <a:latin typeface="+mn-lt"/>
        <a:ea typeface="+mn-ea"/>
        <a:cs typeface="+mn-cs"/>
      </a:defRPr>
    </a:lvl6pPr>
    <a:lvl7pPr marL="3264713" algn="l" defTabSz="1088239" rtl="0" eaLnBrk="1" latinLnBrk="0" hangingPunct="1">
      <a:defRPr sz="2133" kern="1200">
        <a:solidFill>
          <a:schemeClr val="tx1"/>
        </a:solidFill>
        <a:latin typeface="+mn-lt"/>
        <a:ea typeface="+mn-ea"/>
        <a:cs typeface="+mn-cs"/>
      </a:defRPr>
    </a:lvl7pPr>
    <a:lvl8pPr marL="3808833" algn="l" defTabSz="1088239" rtl="0" eaLnBrk="1" latinLnBrk="0" hangingPunct="1">
      <a:defRPr sz="2133" kern="1200">
        <a:solidFill>
          <a:schemeClr val="tx1"/>
        </a:solidFill>
        <a:latin typeface="+mn-lt"/>
        <a:ea typeface="+mn-ea"/>
        <a:cs typeface="+mn-cs"/>
      </a:defRPr>
    </a:lvl8pPr>
    <a:lvl9pPr marL="4352953" algn="l" defTabSz="1088239" rtl="0" eaLnBrk="1" latinLnBrk="0" hangingPunct="1">
      <a:defRPr sz="2133"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909" userDrawn="1">
          <p15:clr>
            <a:srgbClr val="A4A3A4"/>
          </p15:clr>
        </p15:guide>
        <p15:guide id="2" pos="2209"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avid Williams" initials="DBW" lastIdx="3" clrIdx="0"/>
  <p:cmAuthor id="1" name="Ezlakowski, Mat" initials="EM" lastIdx="1" clrIdx="1">
    <p:extLst>
      <p:ext uri="{19B8F6BF-5375-455C-9EA6-DF929625EA0E}">
        <p15:presenceInfo xmlns:p15="http://schemas.microsoft.com/office/powerpoint/2012/main" userId="S-1-5-21-1531082355-734649621-3782574898-160527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CCCC"/>
    <a:srgbClr val="4701A7"/>
    <a:srgbClr val="0F999C"/>
    <a:srgbClr val="CB2980"/>
    <a:srgbClr val="860864"/>
    <a:srgbClr val="88D5ED"/>
    <a:srgbClr val="00C37B"/>
    <a:srgbClr val="01D1D0"/>
    <a:srgbClr val="8EC63E"/>
    <a:srgbClr val="300B4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77351F3-6718-4500-BC7D-EB804376A16A}" v="2" dt="2020-07-08T11:54:03.38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5368" autoAdjust="0"/>
    <p:restoredTop sz="94451" autoAdjust="0"/>
  </p:normalViewPr>
  <p:slideViewPr>
    <p:cSldViewPr snapToGrid="0" snapToObjects="1">
      <p:cViewPr varScale="1">
        <p:scale>
          <a:sx n="81" d="100"/>
          <a:sy n="81" d="100"/>
        </p:scale>
        <p:origin x="750" y="90"/>
      </p:cViewPr>
      <p:guideLst/>
    </p:cSldViewPr>
  </p:slideViewPr>
  <p:notesTextViewPr>
    <p:cViewPr>
      <p:scale>
        <a:sx n="100" d="100"/>
        <a:sy n="100" d="100"/>
      </p:scale>
      <p:origin x="0" y="0"/>
    </p:cViewPr>
  </p:notesTextViewPr>
  <p:sorterViewPr>
    <p:cViewPr varScale="1">
      <p:scale>
        <a:sx n="1" d="1"/>
        <a:sy n="1" d="1"/>
      </p:scale>
      <p:origin x="0" y="-504"/>
    </p:cViewPr>
  </p:sorterViewPr>
  <p:notesViewPr>
    <p:cSldViewPr snapToGrid="0" snapToObjects="1">
      <p:cViewPr varScale="1">
        <p:scale>
          <a:sx n="42" d="100"/>
          <a:sy n="42" d="100"/>
        </p:scale>
        <p:origin x="2004" y="48"/>
      </p:cViewPr>
      <p:guideLst>
        <p:guide orient="horz" pos="2909"/>
        <p:guide pos="2209"/>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notesMaster" Target="notesMasters/notesMaster1.xml"/><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commentAuthors" Target="commentAuthors.xml"/><Relationship Id="rId28" Type="http://schemas.microsoft.com/office/2016/11/relationships/changesInfo" Target="changesInfos/changesInfo1.xml"/><Relationship Id="rId10" Type="http://schemas.openxmlformats.org/officeDocument/2006/relationships/slide" Target="slides/slide2.xml"/><Relationship Id="rId19" Type="http://schemas.openxmlformats.org/officeDocument/2006/relationships/slide" Target="slides/slide1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tags" Target="tags/tag1.xml"/><Relationship Id="rId27"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inson Jr, Robert E" userId="9fee3f5f-4e69-4bb5-b4b2-ac6a22d2e78f" providerId="ADAL" clId="{1528E9B4-D6B7-4565-A2AF-B462AF603DC2}"/>
    <pc:docChg chg="modSld">
      <pc:chgData name="Robinson Jr, Robert E" userId="9fee3f5f-4e69-4bb5-b4b2-ac6a22d2e78f" providerId="ADAL" clId="{1528E9B4-D6B7-4565-A2AF-B462AF603DC2}" dt="2020-07-08T11:54:13.243" v="15" actId="20577"/>
      <pc:docMkLst>
        <pc:docMk/>
      </pc:docMkLst>
      <pc:sldChg chg="addSp modSp">
        <pc:chgData name="Robinson Jr, Robert E" userId="9fee3f5f-4e69-4bb5-b4b2-ac6a22d2e78f" providerId="ADAL" clId="{1528E9B4-D6B7-4565-A2AF-B462AF603DC2}" dt="2020-07-08T11:54:08.370" v="8" actId="20577"/>
        <pc:sldMkLst>
          <pc:docMk/>
          <pc:sldMk cId="191091484" sldId="719"/>
        </pc:sldMkLst>
        <pc:spChg chg="add mod">
          <ac:chgData name="Robinson Jr, Robert E" userId="9fee3f5f-4e69-4bb5-b4b2-ac6a22d2e78f" providerId="ADAL" clId="{1528E9B4-D6B7-4565-A2AF-B462AF603DC2}" dt="2020-07-08T11:54:08.370" v="8" actId="20577"/>
          <ac:spMkLst>
            <pc:docMk/>
            <pc:sldMk cId="191091484" sldId="719"/>
            <ac:spMk id="8" creationId="{9681542D-AC61-450C-89B5-CCA19BB8DDD9}"/>
          </ac:spMkLst>
        </pc:spChg>
        <pc:cxnChg chg="add">
          <ac:chgData name="Robinson Jr, Robert E" userId="9fee3f5f-4e69-4bb5-b4b2-ac6a22d2e78f" providerId="ADAL" clId="{1528E9B4-D6B7-4565-A2AF-B462AF603DC2}" dt="2020-07-08T11:54:03.389" v="1"/>
          <ac:cxnSpMkLst>
            <pc:docMk/>
            <pc:sldMk cId="191091484" sldId="719"/>
            <ac:cxnSpMk id="9" creationId="{F1CD010C-0357-4904-827A-4C5D84CBCBC1}"/>
          </ac:cxnSpMkLst>
        </pc:cxnChg>
        <pc:cxnChg chg="add">
          <ac:chgData name="Robinson Jr, Robert E" userId="9fee3f5f-4e69-4bb5-b4b2-ac6a22d2e78f" providerId="ADAL" clId="{1528E9B4-D6B7-4565-A2AF-B462AF603DC2}" dt="2020-07-08T11:54:03.389" v="1"/>
          <ac:cxnSpMkLst>
            <pc:docMk/>
            <pc:sldMk cId="191091484" sldId="719"/>
            <ac:cxnSpMk id="10" creationId="{F1082DE8-F564-46B7-906C-D0A155917CB7}"/>
          </ac:cxnSpMkLst>
        </pc:cxnChg>
      </pc:sldChg>
      <pc:sldChg chg="addSp modSp">
        <pc:chgData name="Robinson Jr, Robert E" userId="9fee3f5f-4e69-4bb5-b4b2-ac6a22d2e78f" providerId="ADAL" clId="{1528E9B4-D6B7-4565-A2AF-B462AF603DC2}" dt="2020-07-08T11:54:13.243" v="15" actId="20577"/>
        <pc:sldMkLst>
          <pc:docMk/>
          <pc:sldMk cId="2517292009" sldId="733"/>
        </pc:sldMkLst>
        <pc:spChg chg="add mod">
          <ac:chgData name="Robinson Jr, Robert E" userId="9fee3f5f-4e69-4bb5-b4b2-ac6a22d2e78f" providerId="ADAL" clId="{1528E9B4-D6B7-4565-A2AF-B462AF603DC2}" dt="2020-07-08T11:54:13.243" v="15" actId="20577"/>
          <ac:spMkLst>
            <pc:docMk/>
            <pc:sldMk cId="2517292009" sldId="733"/>
            <ac:spMk id="18" creationId="{90C6F5F1-3D4A-4ED8-8E09-D710EAF1559B}"/>
          </ac:spMkLst>
        </pc:spChg>
        <pc:cxnChg chg="add">
          <ac:chgData name="Robinson Jr, Robert E" userId="9fee3f5f-4e69-4bb5-b4b2-ac6a22d2e78f" providerId="ADAL" clId="{1528E9B4-D6B7-4565-A2AF-B462AF603DC2}" dt="2020-07-08T11:54:02.074" v="0"/>
          <ac:cxnSpMkLst>
            <pc:docMk/>
            <pc:sldMk cId="2517292009" sldId="733"/>
            <ac:cxnSpMk id="19" creationId="{89F4A7D1-E8DD-40B4-A076-DAC6931EE675}"/>
          </ac:cxnSpMkLst>
        </pc:cxnChg>
        <pc:cxnChg chg="add">
          <ac:chgData name="Robinson Jr, Robert E" userId="9fee3f5f-4e69-4bb5-b4b2-ac6a22d2e78f" providerId="ADAL" clId="{1528E9B4-D6B7-4565-A2AF-B462AF603DC2}" dt="2020-07-08T11:54:02.074" v="0"/>
          <ac:cxnSpMkLst>
            <pc:docMk/>
            <pc:sldMk cId="2517292009" sldId="733"/>
            <ac:cxnSpMk id="20" creationId="{8DA1BA0E-3E77-40E1-B0E5-EDFA99BF24F5}"/>
          </ac:cxnSpMkLst>
        </pc:cxn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NULL"/></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1"/>
            <a:ext cx="7010400" cy="461302"/>
          </a:xfrm>
          <a:prstGeom prst="rect">
            <a:avLst/>
          </a:prstGeom>
        </p:spPr>
        <p:txBody>
          <a:bodyPr vert="horz" lIns="34774" tIns="34774" rIns="243416" bIns="34774"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8773341"/>
            <a:ext cx="3038049" cy="461302"/>
          </a:xfrm>
          <a:prstGeom prst="rect">
            <a:avLst/>
          </a:prstGeom>
        </p:spPr>
        <p:txBody>
          <a:bodyPr vert="horz" lIns="88325" tIns="44162" rIns="88325" bIns="44162" rtlCol="0" anchor="b"/>
          <a:lstStyle>
            <a:lvl1pPr algn="l">
              <a:defRPr sz="1200"/>
            </a:lvl1pPr>
          </a:lstStyle>
          <a:p>
            <a:r>
              <a:rPr lang="de-DE" sz="800" dirty="0">
                <a:latin typeface="Arial" pitchFamily="34" charset="0"/>
                <a:cs typeface="Arial" pitchFamily="34" charset="0"/>
              </a:rPr>
              <a:t>© 2012 Capgemini. All </a:t>
            </a:r>
            <a:r>
              <a:rPr lang="de-DE" sz="800" dirty="0" err="1">
                <a:latin typeface="Arial" pitchFamily="34" charset="0"/>
                <a:cs typeface="Arial" pitchFamily="34" charset="0"/>
              </a:rPr>
              <a:t>rights</a:t>
            </a:r>
            <a:r>
              <a:rPr lang="de-DE" sz="800" dirty="0">
                <a:latin typeface="Arial" pitchFamily="34" charset="0"/>
                <a:cs typeface="Arial" pitchFamily="34" charset="0"/>
              </a:rPr>
              <a:t> </a:t>
            </a:r>
            <a:r>
              <a:rPr lang="de-DE" sz="800" dirty="0" err="1">
                <a:latin typeface="Arial" pitchFamily="34" charset="0"/>
                <a:cs typeface="Arial" pitchFamily="34" charset="0"/>
              </a:rPr>
              <a:t>reserved</a:t>
            </a:r>
            <a:r>
              <a:rPr lang="de-DE" sz="800" dirty="0">
                <a:latin typeface="Arial" pitchFamily="34" charset="0"/>
                <a:cs typeface="Arial" pitchFamily="34" charset="0"/>
              </a:rPr>
              <a:t>.</a:t>
            </a:r>
          </a:p>
        </p:txBody>
      </p:sp>
      <p:sp>
        <p:nvSpPr>
          <p:cNvPr id="5" name="Slide Number Placeholder 4"/>
          <p:cNvSpPr>
            <a:spLocks noGrp="1"/>
          </p:cNvSpPr>
          <p:nvPr>
            <p:ph type="sldNum" sz="quarter" idx="3"/>
          </p:nvPr>
        </p:nvSpPr>
        <p:spPr>
          <a:xfrm>
            <a:off x="3970784" y="8773341"/>
            <a:ext cx="3038049" cy="461302"/>
          </a:xfrm>
          <a:prstGeom prst="rect">
            <a:avLst/>
          </a:prstGeom>
        </p:spPr>
        <p:txBody>
          <a:bodyPr vert="horz" lIns="88325" tIns="44162" rIns="88325" bIns="44162"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val="177335404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3037840" cy="461804"/>
          </a:xfrm>
          <a:prstGeom prst="rect">
            <a:avLst/>
          </a:prstGeom>
        </p:spPr>
        <p:txBody>
          <a:bodyPr vert="horz" lIns="95674" tIns="47837" rIns="95674" bIns="47837" rtlCol="0"/>
          <a:lstStyle>
            <a:lvl1pPr algn="l">
              <a:defRPr sz="1300"/>
            </a:lvl1pPr>
          </a:lstStyle>
          <a:p>
            <a:endParaRPr lang="en-US" dirty="0"/>
          </a:p>
        </p:txBody>
      </p:sp>
      <p:sp>
        <p:nvSpPr>
          <p:cNvPr id="3" name="Date Placeholder 2"/>
          <p:cNvSpPr>
            <a:spLocks noGrp="1"/>
          </p:cNvSpPr>
          <p:nvPr>
            <p:ph type="dt" idx="1"/>
          </p:nvPr>
        </p:nvSpPr>
        <p:spPr>
          <a:xfrm>
            <a:off x="3970939" y="1"/>
            <a:ext cx="3037840" cy="461804"/>
          </a:xfrm>
          <a:prstGeom prst="rect">
            <a:avLst/>
          </a:prstGeom>
        </p:spPr>
        <p:txBody>
          <a:bodyPr vert="horz" lIns="95674" tIns="47837" rIns="95674" bIns="47837" rtlCol="0"/>
          <a:lstStyle>
            <a:lvl1pPr algn="r">
              <a:defRPr sz="1300"/>
            </a:lvl1pPr>
          </a:lstStyle>
          <a:p>
            <a:fld id="{2FB4FF29-EE9A-4D47-9F1A-289A80693C0F}" type="datetimeFigureOut">
              <a:rPr lang="en-US" smtClean="0"/>
              <a:pPr/>
              <a:t>7/8/2020</a:t>
            </a:fld>
            <a:endParaRPr lang="en-US" dirty="0"/>
          </a:p>
        </p:txBody>
      </p:sp>
      <p:sp>
        <p:nvSpPr>
          <p:cNvPr id="4" name="Slide Image Placeholder 3"/>
          <p:cNvSpPr>
            <a:spLocks noGrp="1" noRot="1" noChangeAspect="1"/>
          </p:cNvSpPr>
          <p:nvPr>
            <p:ph type="sldImg" idx="2"/>
          </p:nvPr>
        </p:nvSpPr>
        <p:spPr>
          <a:xfrm>
            <a:off x="427038" y="693738"/>
            <a:ext cx="6156325" cy="3462337"/>
          </a:xfrm>
          <a:prstGeom prst="rect">
            <a:avLst/>
          </a:prstGeom>
          <a:noFill/>
          <a:ln w="12700">
            <a:solidFill>
              <a:prstClr val="black"/>
            </a:solidFill>
          </a:ln>
        </p:spPr>
        <p:txBody>
          <a:bodyPr vert="horz" lIns="95674" tIns="47837" rIns="95674" bIns="47837" rtlCol="0" anchor="ctr"/>
          <a:lstStyle/>
          <a:p>
            <a:endParaRPr lang="de-DE"/>
          </a:p>
        </p:txBody>
      </p:sp>
      <p:sp>
        <p:nvSpPr>
          <p:cNvPr id="5" name="Notes Placeholder 4"/>
          <p:cNvSpPr>
            <a:spLocks noGrp="1"/>
          </p:cNvSpPr>
          <p:nvPr>
            <p:ph type="body" sz="quarter" idx="3"/>
          </p:nvPr>
        </p:nvSpPr>
        <p:spPr>
          <a:xfrm>
            <a:off x="701041" y="4387135"/>
            <a:ext cx="5608320" cy="4156235"/>
          </a:xfrm>
          <a:prstGeom prst="rect">
            <a:avLst/>
          </a:prstGeom>
        </p:spPr>
        <p:txBody>
          <a:bodyPr vert="horz" lIns="95674" tIns="47837" rIns="95674" bIns="47837"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8772670"/>
            <a:ext cx="3037840" cy="461804"/>
          </a:xfrm>
          <a:prstGeom prst="rect">
            <a:avLst/>
          </a:prstGeom>
        </p:spPr>
        <p:txBody>
          <a:bodyPr vert="horz" lIns="95674" tIns="47837" rIns="95674" bIns="47837" rtlCol="0" anchor="b"/>
          <a:lstStyle>
            <a:lvl1pPr algn="l">
              <a:defRPr sz="1300"/>
            </a:lvl1pPr>
          </a:lstStyle>
          <a:p>
            <a:endParaRPr lang="en-US" dirty="0"/>
          </a:p>
        </p:txBody>
      </p:sp>
      <p:sp>
        <p:nvSpPr>
          <p:cNvPr id="7" name="Slide Number Placeholder 6"/>
          <p:cNvSpPr>
            <a:spLocks noGrp="1"/>
          </p:cNvSpPr>
          <p:nvPr>
            <p:ph type="sldNum" sz="quarter" idx="5"/>
          </p:nvPr>
        </p:nvSpPr>
        <p:spPr>
          <a:xfrm>
            <a:off x="3970939" y="8772670"/>
            <a:ext cx="3037840" cy="461804"/>
          </a:xfrm>
          <a:prstGeom prst="rect">
            <a:avLst/>
          </a:prstGeom>
        </p:spPr>
        <p:txBody>
          <a:bodyPr vert="horz" lIns="95674" tIns="47837" rIns="95674" bIns="47837" rtlCol="0" anchor="b"/>
          <a:lstStyle>
            <a:lvl1pPr algn="r">
              <a:defRPr sz="1300"/>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val="2623213213"/>
      </p:ext>
    </p:extLst>
  </p:cSld>
  <p:clrMap bg1="lt1" tx1="dk1" bg2="lt2" tx2="dk2" accent1="accent1" accent2="accent2" accent3="accent3" accent4="accent4" accent5="accent5" accent6="accent6" hlink="hlink" folHlink="folHlink"/>
  <p:notesStyle>
    <a:lvl1pPr marL="0" algn="l" defTabSz="1038910" rtl="0" eaLnBrk="1" latinLnBrk="0" hangingPunct="1">
      <a:defRPr sz="1333" kern="1200">
        <a:solidFill>
          <a:schemeClr val="tx1"/>
        </a:solidFill>
        <a:latin typeface="+mn-lt"/>
        <a:ea typeface="+mn-ea"/>
        <a:cs typeface="+mn-cs"/>
      </a:defRPr>
    </a:lvl1pPr>
    <a:lvl2pPr marL="519455" algn="l" defTabSz="1038910" rtl="0" eaLnBrk="1" latinLnBrk="0" hangingPunct="1">
      <a:defRPr sz="1333" kern="1200">
        <a:solidFill>
          <a:schemeClr val="tx1"/>
        </a:solidFill>
        <a:latin typeface="+mn-lt"/>
        <a:ea typeface="+mn-ea"/>
        <a:cs typeface="+mn-cs"/>
      </a:defRPr>
    </a:lvl2pPr>
    <a:lvl3pPr marL="1038910" algn="l" defTabSz="1038910" rtl="0" eaLnBrk="1" latinLnBrk="0" hangingPunct="1">
      <a:defRPr sz="1333" kern="1200">
        <a:solidFill>
          <a:schemeClr val="tx1"/>
        </a:solidFill>
        <a:latin typeface="+mn-lt"/>
        <a:ea typeface="+mn-ea"/>
        <a:cs typeface="+mn-cs"/>
      </a:defRPr>
    </a:lvl3pPr>
    <a:lvl4pPr marL="1558365" algn="l" defTabSz="1038910" rtl="0" eaLnBrk="1" latinLnBrk="0" hangingPunct="1">
      <a:defRPr sz="1333" kern="1200">
        <a:solidFill>
          <a:schemeClr val="tx1"/>
        </a:solidFill>
        <a:latin typeface="+mn-lt"/>
        <a:ea typeface="+mn-ea"/>
        <a:cs typeface="+mn-cs"/>
      </a:defRPr>
    </a:lvl4pPr>
    <a:lvl5pPr marL="2077821" algn="l" defTabSz="1038910" rtl="0" eaLnBrk="1" latinLnBrk="0" hangingPunct="1">
      <a:defRPr sz="1333" kern="1200">
        <a:solidFill>
          <a:schemeClr val="tx1"/>
        </a:solidFill>
        <a:latin typeface="+mn-lt"/>
        <a:ea typeface="+mn-ea"/>
        <a:cs typeface="+mn-cs"/>
      </a:defRPr>
    </a:lvl5pPr>
    <a:lvl6pPr marL="2597276" algn="l" defTabSz="1038910" rtl="0" eaLnBrk="1" latinLnBrk="0" hangingPunct="1">
      <a:defRPr sz="1333" kern="1200">
        <a:solidFill>
          <a:schemeClr val="tx1"/>
        </a:solidFill>
        <a:latin typeface="+mn-lt"/>
        <a:ea typeface="+mn-ea"/>
        <a:cs typeface="+mn-cs"/>
      </a:defRPr>
    </a:lvl6pPr>
    <a:lvl7pPr marL="3116731" algn="l" defTabSz="1038910" rtl="0" eaLnBrk="1" latinLnBrk="0" hangingPunct="1">
      <a:defRPr sz="1333" kern="1200">
        <a:solidFill>
          <a:schemeClr val="tx1"/>
        </a:solidFill>
        <a:latin typeface="+mn-lt"/>
        <a:ea typeface="+mn-ea"/>
        <a:cs typeface="+mn-cs"/>
      </a:defRPr>
    </a:lvl7pPr>
    <a:lvl8pPr marL="3636188" algn="l" defTabSz="1038910" rtl="0" eaLnBrk="1" latinLnBrk="0" hangingPunct="1">
      <a:defRPr sz="1333" kern="1200">
        <a:solidFill>
          <a:schemeClr val="tx1"/>
        </a:solidFill>
        <a:latin typeface="+mn-lt"/>
        <a:ea typeface="+mn-ea"/>
        <a:cs typeface="+mn-cs"/>
      </a:defRPr>
    </a:lvl8pPr>
    <a:lvl9pPr marL="4155643" algn="l" defTabSz="1038910" rtl="0" eaLnBrk="1" latinLnBrk="0" hangingPunct="1">
      <a:defRPr sz="1333"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on’t do it just because there is a deadline. </a:t>
            </a:r>
          </a:p>
        </p:txBody>
      </p:sp>
      <p:sp>
        <p:nvSpPr>
          <p:cNvPr id="4" name="Slide Number Placeholder 3"/>
          <p:cNvSpPr>
            <a:spLocks noGrp="1"/>
          </p:cNvSpPr>
          <p:nvPr>
            <p:ph type="sldNum" sz="quarter" idx="10"/>
          </p:nvPr>
        </p:nvSpPr>
        <p:spPr/>
        <p:txBody>
          <a:bodyPr/>
          <a:lstStyle/>
          <a:p>
            <a:fld id="{C0696B5C-12A0-4042-B4D0-BD3B9A4F58C6}" type="slidenum">
              <a:rPr lang="pt-BR" smtClean="0"/>
              <a:t>3</a:t>
            </a:fld>
            <a:endParaRPr lang="pt-BR"/>
          </a:p>
        </p:txBody>
      </p:sp>
    </p:spTree>
    <p:extLst>
      <p:ext uri="{BB962C8B-B14F-4D97-AF65-F5344CB8AC3E}">
        <p14:creationId xmlns:p14="http://schemas.microsoft.com/office/powerpoint/2010/main" val="42105140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on’t do it just because there is a deadline. </a:t>
            </a:r>
          </a:p>
        </p:txBody>
      </p:sp>
      <p:sp>
        <p:nvSpPr>
          <p:cNvPr id="4" name="Slide Number Placeholder 3"/>
          <p:cNvSpPr>
            <a:spLocks noGrp="1"/>
          </p:cNvSpPr>
          <p:nvPr>
            <p:ph type="sldNum" sz="quarter" idx="10"/>
          </p:nvPr>
        </p:nvSpPr>
        <p:spPr/>
        <p:txBody>
          <a:bodyPr/>
          <a:lstStyle/>
          <a:p>
            <a:fld id="{C0696B5C-12A0-4042-B4D0-BD3B9A4F58C6}" type="slidenum">
              <a:rPr lang="pt-BR" smtClean="0"/>
              <a:t>6</a:t>
            </a:fld>
            <a:endParaRPr lang="pt-BR"/>
          </a:p>
        </p:txBody>
      </p:sp>
    </p:spTree>
    <p:extLst>
      <p:ext uri="{BB962C8B-B14F-4D97-AF65-F5344CB8AC3E}">
        <p14:creationId xmlns:p14="http://schemas.microsoft.com/office/powerpoint/2010/main" val="4184086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on’t do it just because there is a deadline. </a:t>
            </a:r>
          </a:p>
        </p:txBody>
      </p:sp>
      <p:sp>
        <p:nvSpPr>
          <p:cNvPr id="4" name="Slide Number Placeholder 3"/>
          <p:cNvSpPr>
            <a:spLocks noGrp="1"/>
          </p:cNvSpPr>
          <p:nvPr>
            <p:ph type="sldNum" sz="quarter" idx="10"/>
          </p:nvPr>
        </p:nvSpPr>
        <p:spPr/>
        <p:txBody>
          <a:bodyPr/>
          <a:lstStyle/>
          <a:p>
            <a:fld id="{C0696B5C-12A0-4042-B4D0-BD3B9A4F58C6}" type="slidenum">
              <a:rPr lang="pt-BR" smtClean="0"/>
              <a:t>10</a:t>
            </a:fld>
            <a:endParaRPr lang="pt-BR"/>
          </a:p>
        </p:txBody>
      </p:sp>
    </p:spTree>
    <p:extLst>
      <p:ext uri="{BB962C8B-B14F-4D97-AF65-F5344CB8AC3E}">
        <p14:creationId xmlns:p14="http://schemas.microsoft.com/office/powerpoint/2010/main" val="36282892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on’t do it just because there is a deadline. </a:t>
            </a:r>
          </a:p>
        </p:txBody>
      </p:sp>
      <p:sp>
        <p:nvSpPr>
          <p:cNvPr id="4" name="Slide Number Placeholder 3"/>
          <p:cNvSpPr>
            <a:spLocks noGrp="1"/>
          </p:cNvSpPr>
          <p:nvPr>
            <p:ph type="sldNum" sz="quarter" idx="10"/>
          </p:nvPr>
        </p:nvSpPr>
        <p:spPr/>
        <p:txBody>
          <a:bodyPr/>
          <a:lstStyle/>
          <a:p>
            <a:fld id="{C0696B5C-12A0-4042-B4D0-BD3B9A4F58C6}" type="slidenum">
              <a:rPr lang="pt-BR" smtClean="0"/>
              <a:t>11</a:t>
            </a:fld>
            <a:endParaRPr lang="pt-BR"/>
          </a:p>
        </p:txBody>
      </p:sp>
    </p:spTree>
    <p:extLst>
      <p:ext uri="{BB962C8B-B14F-4D97-AF65-F5344CB8AC3E}">
        <p14:creationId xmlns:p14="http://schemas.microsoft.com/office/powerpoint/2010/main" val="423439330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image" Target="../media/image3.svg"/><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xml"/><Relationship Id="rId7" Type="http://schemas.openxmlformats.org/officeDocument/2006/relationships/oleObject" Target="../embeddings/oleObject9.bin"/><Relationship Id="rId2" Type="http://schemas.openxmlformats.org/officeDocument/2006/relationships/tags" Target="../tags/tag19.xml"/><Relationship Id="rId1" Type="http://schemas.openxmlformats.org/officeDocument/2006/relationships/vmlDrawing" Target="../drawings/vmlDrawing9.vml"/><Relationship Id="rId6" Type="http://schemas.openxmlformats.org/officeDocument/2006/relationships/slideMaster" Target="../slideMasters/slideMaster1.xml"/><Relationship Id="rId5" Type="http://schemas.openxmlformats.org/officeDocument/2006/relationships/tags" Target="../tags/tag22.xml"/><Relationship Id="rId4" Type="http://schemas.openxmlformats.org/officeDocument/2006/relationships/tags" Target="../tags/tag21.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xml"/><Relationship Id="rId7" Type="http://schemas.openxmlformats.org/officeDocument/2006/relationships/oleObject" Target="../embeddings/oleObject10.bin"/><Relationship Id="rId2" Type="http://schemas.openxmlformats.org/officeDocument/2006/relationships/tags" Target="../tags/tag23.xml"/><Relationship Id="rId1" Type="http://schemas.openxmlformats.org/officeDocument/2006/relationships/vmlDrawing" Target="../drawings/vmlDrawing10.vml"/><Relationship Id="rId6" Type="http://schemas.openxmlformats.org/officeDocument/2006/relationships/slideMaster" Target="../slideMasters/slideMaster1.xml"/><Relationship Id="rId5" Type="http://schemas.openxmlformats.org/officeDocument/2006/relationships/tags" Target="../tags/tag26.xml"/><Relationship Id="rId4" Type="http://schemas.openxmlformats.org/officeDocument/2006/relationships/tags" Target="../tags/tag25.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tags" Target="../tags/tag28.xml"/><Relationship Id="rId7" Type="http://schemas.openxmlformats.org/officeDocument/2006/relationships/image" Target="../media/image2.png"/><Relationship Id="rId2" Type="http://schemas.openxmlformats.org/officeDocument/2006/relationships/tags" Target="../tags/tag27.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7.png"/><Relationship Id="rId13" Type="http://schemas.openxmlformats.org/officeDocument/2006/relationships/hyperlink" Target="http://www.youtube.com/capgeminimedia" TargetMode="External"/><Relationship Id="rId3" Type="http://schemas.openxmlformats.org/officeDocument/2006/relationships/slideMaster" Target="../slideMasters/slideMaster1.xml"/><Relationship Id="rId7" Type="http://schemas.openxmlformats.org/officeDocument/2006/relationships/hyperlink" Target="http://www.linkedin.com/company/capgemini" TargetMode="External"/><Relationship Id="rId12" Type="http://schemas.openxmlformats.org/officeDocument/2006/relationships/image" Target="../media/image9.png"/><Relationship Id="rId17" Type="http://schemas.openxmlformats.org/officeDocument/2006/relationships/image" Target="../media/image12.png"/><Relationship Id="rId2" Type="http://schemas.openxmlformats.org/officeDocument/2006/relationships/tags" Target="../tags/tag29.xml"/><Relationship Id="rId16" Type="http://schemas.openxmlformats.org/officeDocument/2006/relationships/image" Target="../media/image11.png"/><Relationship Id="rId1" Type="http://schemas.openxmlformats.org/officeDocument/2006/relationships/vmlDrawing" Target="../drawings/vmlDrawing12.vml"/><Relationship Id="rId6" Type="http://schemas.openxmlformats.org/officeDocument/2006/relationships/hyperlink" Target="http://www.capgemini.com/about/how-we-work/rightshorer" TargetMode="External"/><Relationship Id="rId11" Type="http://schemas.openxmlformats.org/officeDocument/2006/relationships/hyperlink" Target="http://www.twitter.com/capgemini" TargetMode="External"/><Relationship Id="rId5" Type="http://schemas.openxmlformats.org/officeDocument/2006/relationships/image" Target="../media/image1.emf"/><Relationship Id="rId15" Type="http://schemas.openxmlformats.org/officeDocument/2006/relationships/hyperlink" Target="http://www.facebook.com/capgemini" TargetMode="External"/><Relationship Id="rId10" Type="http://schemas.openxmlformats.org/officeDocument/2006/relationships/image" Target="../media/image8.png"/><Relationship Id="rId4" Type="http://schemas.openxmlformats.org/officeDocument/2006/relationships/oleObject" Target="../embeddings/oleObject12.bin"/><Relationship Id="rId9" Type="http://schemas.openxmlformats.org/officeDocument/2006/relationships/hyperlink" Target="http://www.slideshare.net/capgemini" TargetMode="External"/><Relationship Id="rId14" Type="http://schemas.openxmlformats.org/officeDocument/2006/relationships/image" Target="../media/image10.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3.vml"/><Relationship Id="rId5" Type="http://schemas.openxmlformats.org/officeDocument/2006/relationships/image" Target="NULL"/><Relationship Id="rId4" Type="http://schemas.openxmlformats.org/officeDocument/2006/relationships/oleObject" Target="../embeddings/oleObject13.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vmlDrawing" Target="../drawings/vmlDrawing14.vml"/><Relationship Id="rId5" Type="http://schemas.openxmlformats.org/officeDocument/2006/relationships/image" Target="../media/image15.emf"/><Relationship Id="rId4" Type="http://schemas.openxmlformats.org/officeDocument/2006/relationships/oleObject" Target="../embeddings/oleObject14.bin"/></Relationships>
</file>

<file path=ppt/slideLayouts/_rels/slideLayout1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12.png"/><Relationship Id="rId3" Type="http://schemas.openxmlformats.org/officeDocument/2006/relationships/hyperlink" Target="http://www.linkedin.com/company/capgemini" TargetMode="External"/><Relationship Id="rId7" Type="http://schemas.openxmlformats.org/officeDocument/2006/relationships/hyperlink" Target="http://www.twitter.com/capgemini" TargetMode="External"/><Relationship Id="rId12" Type="http://schemas.openxmlformats.org/officeDocument/2006/relationships/image" Target="../media/image11.png"/><Relationship Id="rId2" Type="http://schemas.openxmlformats.org/officeDocument/2006/relationships/hyperlink" Target="http://www.capgemini.com/" TargetMode="External"/><Relationship Id="rId1" Type="http://schemas.openxmlformats.org/officeDocument/2006/relationships/slideMaster" Target="../slideMasters/slideMaster2.xml"/><Relationship Id="rId6" Type="http://schemas.openxmlformats.org/officeDocument/2006/relationships/image" Target="../media/image8.png"/><Relationship Id="rId11" Type="http://schemas.openxmlformats.org/officeDocument/2006/relationships/hyperlink" Target="http://www.facebook.com/capgemini" TargetMode="External"/><Relationship Id="rId5" Type="http://schemas.openxmlformats.org/officeDocument/2006/relationships/hyperlink" Target="http://www.slideshare.net/capgemini" TargetMode="External"/><Relationship Id="rId10" Type="http://schemas.openxmlformats.org/officeDocument/2006/relationships/image" Target="../media/image10.png"/><Relationship Id="rId4" Type="http://schemas.openxmlformats.org/officeDocument/2006/relationships/image" Target="../media/image7.png"/><Relationship Id="rId9" Type="http://schemas.openxmlformats.org/officeDocument/2006/relationships/hyperlink" Target="http://www.youtube.com/capgeminimedia" TargetMode="Externa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2.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3.svg"/><Relationship Id="rId4" Type="http://schemas.openxmlformats.org/officeDocument/2006/relationships/image" Target="../media/image2.pn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emf"/><Relationship Id="rId2" Type="http://schemas.openxmlformats.org/officeDocument/2006/relationships/tags" Target="../tags/tag35.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image" Target="../media/image3.svg"/><Relationship Id="rId4" Type="http://schemas.openxmlformats.org/officeDocument/2006/relationships/image" Target="../media/image2.png"/></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6.xml"/><Relationship Id="rId1" Type="http://schemas.openxmlformats.org/officeDocument/2006/relationships/vmlDrawing" Target="../drawings/vmlDrawing17.vml"/><Relationship Id="rId6" Type="http://schemas.openxmlformats.org/officeDocument/2006/relationships/image" Target="../media/image15.emf"/><Relationship Id="rId5" Type="http://schemas.openxmlformats.org/officeDocument/2006/relationships/oleObject" Target="../embeddings/oleObject17.bin"/><Relationship Id="rId4" Type="http://schemas.openxmlformats.org/officeDocument/2006/relationships/image" Target="../media/image18.jpeg"/></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7.png"/><Relationship Id="rId13" Type="http://schemas.openxmlformats.org/officeDocument/2006/relationships/hyperlink" Target="http://www.youtube.com/capgeminimedia" TargetMode="External"/><Relationship Id="rId3" Type="http://schemas.openxmlformats.org/officeDocument/2006/relationships/slideMaster" Target="../slideMasters/slideMaster3.xml"/><Relationship Id="rId7" Type="http://schemas.openxmlformats.org/officeDocument/2006/relationships/hyperlink" Target="http://www.linkedin.com/company/capgemini" TargetMode="External"/><Relationship Id="rId12" Type="http://schemas.openxmlformats.org/officeDocument/2006/relationships/image" Target="../media/image9.png"/><Relationship Id="rId17" Type="http://schemas.openxmlformats.org/officeDocument/2006/relationships/image" Target="../media/image12.png"/><Relationship Id="rId2" Type="http://schemas.openxmlformats.org/officeDocument/2006/relationships/tags" Target="../tags/tag39.xml"/><Relationship Id="rId16" Type="http://schemas.openxmlformats.org/officeDocument/2006/relationships/image" Target="../media/image11.png"/><Relationship Id="rId1" Type="http://schemas.openxmlformats.org/officeDocument/2006/relationships/vmlDrawing" Target="../drawings/vmlDrawing19.vml"/><Relationship Id="rId6" Type="http://schemas.openxmlformats.org/officeDocument/2006/relationships/hyperlink" Target="http://www.capgemini.com/about/how-we-work/rightshorer" TargetMode="External"/><Relationship Id="rId11" Type="http://schemas.openxmlformats.org/officeDocument/2006/relationships/hyperlink" Target="http://www.twitter.com/capgemini" TargetMode="External"/><Relationship Id="rId5" Type="http://schemas.openxmlformats.org/officeDocument/2006/relationships/image" Target="../media/image1.emf"/><Relationship Id="rId15" Type="http://schemas.openxmlformats.org/officeDocument/2006/relationships/hyperlink" Target="http://www.facebook.com/capgemini" TargetMode="External"/><Relationship Id="rId10" Type="http://schemas.openxmlformats.org/officeDocument/2006/relationships/image" Target="../media/image8.png"/><Relationship Id="rId4" Type="http://schemas.openxmlformats.org/officeDocument/2006/relationships/oleObject" Target="../embeddings/oleObject19.bin"/><Relationship Id="rId9" Type="http://schemas.openxmlformats.org/officeDocument/2006/relationships/hyperlink" Target="http://www.slideshare.net/capgemini" TargetMode="External"/><Relationship Id="rId14" Type="http://schemas.openxmlformats.org/officeDocument/2006/relationships/image" Target="../media/image10.png"/></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image" Target="../media/image1.emf"/><Relationship Id="rId2" Type="http://schemas.openxmlformats.org/officeDocument/2006/relationships/tags" Target="../tags/tag42.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slideMaster" Target="../slideMasters/slideMaster3.xml"/><Relationship Id="rId4"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5.xml"/><Relationship Id="rId1" Type="http://schemas.openxmlformats.org/officeDocument/2006/relationships/vmlDrawing" Target="../drawings/vmlDrawing22.vml"/><Relationship Id="rId6" Type="http://schemas.openxmlformats.org/officeDocument/2006/relationships/image" Target="../media/image15.emf"/><Relationship Id="rId5" Type="http://schemas.openxmlformats.org/officeDocument/2006/relationships/oleObject" Target="../embeddings/oleObject22.bin"/><Relationship Id="rId4" Type="http://schemas.openxmlformats.org/officeDocument/2006/relationships/image" Target="../media/image19.jpe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5.png"/><Relationship Id="rId4" Type="http://schemas.openxmlformats.org/officeDocument/2006/relationships/image" Target="../media/image3.svg"/></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Master" Target="../slideMasters/slideMaster4.xml"/><Relationship Id="rId7" Type="http://schemas.openxmlformats.org/officeDocument/2006/relationships/image" Target="../media/image1.emf"/><Relationship Id="rId2" Type="http://schemas.openxmlformats.org/officeDocument/2006/relationships/tags" Target="../tags/tag49.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image" Target="../media/image3.svg"/><Relationship Id="rId4" Type="http://schemas.openxmlformats.org/officeDocument/2006/relationships/image" Target="../media/image2.png"/></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7.png"/><Relationship Id="rId13" Type="http://schemas.openxmlformats.org/officeDocument/2006/relationships/hyperlink" Target="http://www.youtube.com/capgeminimedia" TargetMode="External"/><Relationship Id="rId3" Type="http://schemas.openxmlformats.org/officeDocument/2006/relationships/slideMaster" Target="../slideMasters/slideMaster4.xml"/><Relationship Id="rId7" Type="http://schemas.openxmlformats.org/officeDocument/2006/relationships/hyperlink" Target="http://www.linkedin.com/company/capgemini" TargetMode="External"/><Relationship Id="rId12" Type="http://schemas.openxmlformats.org/officeDocument/2006/relationships/image" Target="../media/image9.png"/><Relationship Id="rId17" Type="http://schemas.openxmlformats.org/officeDocument/2006/relationships/image" Target="../media/image12.png"/><Relationship Id="rId2" Type="http://schemas.openxmlformats.org/officeDocument/2006/relationships/tags" Target="../tags/tag52.xml"/><Relationship Id="rId16" Type="http://schemas.openxmlformats.org/officeDocument/2006/relationships/image" Target="../media/image11.png"/><Relationship Id="rId1" Type="http://schemas.openxmlformats.org/officeDocument/2006/relationships/vmlDrawing" Target="../drawings/vmlDrawing26.vml"/><Relationship Id="rId6" Type="http://schemas.openxmlformats.org/officeDocument/2006/relationships/hyperlink" Target="http://www.capgemini.com/about/how-we-work/rightshorer" TargetMode="External"/><Relationship Id="rId11" Type="http://schemas.openxmlformats.org/officeDocument/2006/relationships/hyperlink" Target="http://www.twitter.com/capgemini" TargetMode="External"/><Relationship Id="rId5" Type="http://schemas.openxmlformats.org/officeDocument/2006/relationships/image" Target="../media/image1.emf"/><Relationship Id="rId15" Type="http://schemas.openxmlformats.org/officeDocument/2006/relationships/hyperlink" Target="http://www.facebook.com/capgemini" TargetMode="External"/><Relationship Id="rId10" Type="http://schemas.openxmlformats.org/officeDocument/2006/relationships/image" Target="../media/image8.png"/><Relationship Id="rId4" Type="http://schemas.openxmlformats.org/officeDocument/2006/relationships/oleObject" Target="../embeddings/oleObject26.bin"/><Relationship Id="rId9" Type="http://schemas.openxmlformats.org/officeDocument/2006/relationships/hyperlink" Target="http://www.slideshare.net/capgemini" TargetMode="External"/><Relationship Id="rId14" Type="http://schemas.openxmlformats.org/officeDocument/2006/relationships/image" Target="../media/image10.png"/></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3.xml"/><Relationship Id="rId1" Type="http://schemas.openxmlformats.org/officeDocument/2006/relationships/vmlDrawing" Target="../drawings/vmlDrawing27.vml"/><Relationship Id="rId6" Type="http://schemas.openxmlformats.org/officeDocument/2006/relationships/image" Target="../media/image15.emf"/><Relationship Id="rId5" Type="http://schemas.openxmlformats.org/officeDocument/2006/relationships/oleObject" Target="../embeddings/oleObject27.bin"/><Relationship Id="rId4" Type="http://schemas.openxmlformats.org/officeDocument/2006/relationships/image" Target="../media/image19.jpeg"/></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Master" Target="../slideMasters/slideMaster5.xml"/><Relationship Id="rId7" Type="http://schemas.openxmlformats.org/officeDocument/2006/relationships/image" Target="../media/image1.emf"/><Relationship Id="rId2" Type="http://schemas.openxmlformats.org/officeDocument/2006/relationships/tags" Target="../tags/tag57.xml"/><Relationship Id="rId1" Type="http://schemas.openxmlformats.org/officeDocument/2006/relationships/vmlDrawing" Target="../drawings/vmlDrawing29.vml"/><Relationship Id="rId6" Type="http://schemas.openxmlformats.org/officeDocument/2006/relationships/oleObject" Target="../embeddings/oleObject24.bin"/><Relationship Id="rId5" Type="http://schemas.openxmlformats.org/officeDocument/2006/relationships/image" Target="../media/image3.svg"/><Relationship Id="rId4" Type="http://schemas.openxmlformats.org/officeDocument/2006/relationships/image" Target="../media/image2.png"/></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vmlDrawing" Target="../drawings/vmlDrawing30.v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8" Type="http://schemas.openxmlformats.org/officeDocument/2006/relationships/image" Target="../media/image7.png"/><Relationship Id="rId13" Type="http://schemas.openxmlformats.org/officeDocument/2006/relationships/hyperlink" Target="http://www.youtube.com/capgeminimedia" TargetMode="External"/><Relationship Id="rId3" Type="http://schemas.openxmlformats.org/officeDocument/2006/relationships/slideMaster" Target="../slideMasters/slideMaster5.xml"/><Relationship Id="rId7" Type="http://schemas.openxmlformats.org/officeDocument/2006/relationships/hyperlink" Target="http://www.linkedin.com/company/capgemini" TargetMode="External"/><Relationship Id="rId12" Type="http://schemas.openxmlformats.org/officeDocument/2006/relationships/image" Target="../media/image9.png"/><Relationship Id="rId17" Type="http://schemas.openxmlformats.org/officeDocument/2006/relationships/image" Target="../media/image12.png"/><Relationship Id="rId2" Type="http://schemas.openxmlformats.org/officeDocument/2006/relationships/tags" Target="../tags/tag60.xml"/><Relationship Id="rId16" Type="http://schemas.openxmlformats.org/officeDocument/2006/relationships/image" Target="../media/image11.png"/><Relationship Id="rId1" Type="http://schemas.openxmlformats.org/officeDocument/2006/relationships/vmlDrawing" Target="../drawings/vmlDrawing31.vml"/><Relationship Id="rId6" Type="http://schemas.openxmlformats.org/officeDocument/2006/relationships/hyperlink" Target="http://www.capgemini.com/about/how-we-work/rightshorer" TargetMode="External"/><Relationship Id="rId11" Type="http://schemas.openxmlformats.org/officeDocument/2006/relationships/hyperlink" Target="http://www.twitter.com/capgemini" TargetMode="External"/><Relationship Id="rId5" Type="http://schemas.openxmlformats.org/officeDocument/2006/relationships/image" Target="../media/image1.emf"/><Relationship Id="rId15" Type="http://schemas.openxmlformats.org/officeDocument/2006/relationships/hyperlink" Target="http://www.facebook.com/capgemini" TargetMode="External"/><Relationship Id="rId10" Type="http://schemas.openxmlformats.org/officeDocument/2006/relationships/image" Target="../media/image8.png"/><Relationship Id="rId4" Type="http://schemas.openxmlformats.org/officeDocument/2006/relationships/oleObject" Target="../embeddings/oleObject26.bin"/><Relationship Id="rId9" Type="http://schemas.openxmlformats.org/officeDocument/2006/relationships/hyperlink" Target="http://www.slideshare.net/capgemini" TargetMode="External"/><Relationship Id="rId14" Type="http://schemas.openxmlformats.org/officeDocument/2006/relationships/image" Target="../media/image10.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3.svg"/></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1.xml"/><Relationship Id="rId1" Type="http://schemas.openxmlformats.org/officeDocument/2006/relationships/vmlDrawing" Target="../drawings/vmlDrawing32.vml"/><Relationship Id="rId6" Type="http://schemas.openxmlformats.org/officeDocument/2006/relationships/image" Target="../media/image15.emf"/><Relationship Id="rId5" Type="http://schemas.openxmlformats.org/officeDocument/2006/relationships/oleObject" Target="../embeddings/oleObject27.bin"/><Relationship Id="rId4" Type="http://schemas.openxmlformats.org/officeDocument/2006/relationships/image" Target="../media/image19.jpeg"/></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1.emf"/><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12.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1.emf"/><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Master" Target="../slideMasters/slideMaster1.xml"/><Relationship Id="rId4" Type="http://schemas.openxmlformats.org/officeDocument/2006/relationships/tags" Target="../tags/tag16.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8.xml"/><Relationship Id="rId7" Type="http://schemas.openxmlformats.org/officeDocument/2006/relationships/image" Target="../media/image1.emf"/><Relationship Id="rId2" Type="http://schemas.openxmlformats.org/officeDocument/2006/relationships/tags" Target="../tags/tag17.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image" Target="../media/image6.jpeg"/><Relationship Id="rId4" Type="http://schemas.openxmlformats.org/officeDocument/2006/relationships/slideMaster" Target="../slideMasters/slideMaster1.xml"/><Relationship Id="rId9" Type="http://schemas.openxmlformats.org/officeDocument/2006/relationships/image" Target="../media/image3.sv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p:bg>
      <p:bgPr>
        <a:solidFill>
          <a:srgbClr val="EDEDED"/>
        </a:solidFill>
        <a:effectLst/>
      </p:bgPr>
    </p:bg>
    <p:spTree>
      <p:nvGrpSpPr>
        <p:cNvPr id="1" name=""/>
        <p:cNvGrpSpPr/>
        <p:nvPr/>
      </p:nvGrpSpPr>
      <p:grpSpPr>
        <a:xfrm>
          <a:off x="0" y="0"/>
          <a:ext cx="0" cy="0"/>
          <a:chOff x="0" y="0"/>
          <a:chExt cx="0" cy="0"/>
        </a:xfrm>
      </p:grpSpPr>
      <p:grpSp>
        <p:nvGrpSpPr>
          <p:cNvPr id="14" name="Group 13"/>
          <p:cNvGrpSpPr/>
          <p:nvPr userDrawn="1"/>
        </p:nvGrpSpPr>
        <p:grpSpPr>
          <a:xfrm>
            <a:off x="5149756" y="2450"/>
            <a:ext cx="7060713" cy="6860165"/>
            <a:chOff x="2088634" y="1836"/>
            <a:chExt cx="7057105" cy="6856659"/>
          </a:xfrm>
        </p:grpSpPr>
        <p:sp>
          <p:nvSpPr>
            <p:cNvPr id="15" name="Freeform 14"/>
            <p:cNvSpPr/>
            <p:nvPr userDrawn="1"/>
          </p:nvSpPr>
          <p:spPr>
            <a:xfrm rot="10800000" flipV="1">
              <a:off x="2765729" y="1836"/>
              <a:ext cx="6377472" cy="4012978"/>
            </a:xfrm>
            <a:custGeom>
              <a:avLst/>
              <a:gdLst>
                <a:gd name="connsiteX0" fmla="*/ 3573556 w 3573556"/>
                <a:gd name="connsiteY0" fmla="*/ 1801906 h 2844053"/>
                <a:gd name="connsiteX1" fmla="*/ 0 w 3573556"/>
                <a:gd name="connsiteY1" fmla="*/ 0 h 2844053"/>
                <a:gd name="connsiteX2" fmla="*/ 6724 w 3573556"/>
                <a:gd name="connsiteY2" fmla="*/ 2844053 h 2844053"/>
                <a:gd name="connsiteX3" fmla="*/ 3573556 w 3573556"/>
                <a:gd name="connsiteY3" fmla="*/ 1801906 h 2844053"/>
                <a:gd name="connsiteX0" fmla="*/ 3603812 w 3603812"/>
                <a:gd name="connsiteY0" fmla="*/ 1725470 h 2844053"/>
                <a:gd name="connsiteX1" fmla="*/ 0 w 3603812"/>
                <a:gd name="connsiteY1" fmla="*/ 0 h 2844053"/>
                <a:gd name="connsiteX2" fmla="*/ 6724 w 3603812"/>
                <a:gd name="connsiteY2" fmla="*/ 2844053 h 2844053"/>
                <a:gd name="connsiteX3" fmla="*/ 3603812 w 3603812"/>
                <a:gd name="connsiteY3" fmla="*/ 1725470 h 2844053"/>
                <a:gd name="connsiteX0" fmla="*/ 3603812 w 3603812"/>
                <a:gd name="connsiteY0" fmla="*/ 1725470 h 2844053"/>
                <a:gd name="connsiteX1" fmla="*/ 0 w 3603812"/>
                <a:gd name="connsiteY1" fmla="*/ 0 h 2844053"/>
                <a:gd name="connsiteX2" fmla="*/ 6724 w 3603812"/>
                <a:gd name="connsiteY2" fmla="*/ 2844053 h 2844053"/>
                <a:gd name="connsiteX3" fmla="*/ 3603812 w 3603812"/>
                <a:gd name="connsiteY3" fmla="*/ 1725470 h 2844053"/>
                <a:gd name="connsiteX0" fmla="*/ 3603812 w 3603812"/>
                <a:gd name="connsiteY0" fmla="*/ 1719100 h 2837683"/>
                <a:gd name="connsiteX1" fmla="*/ 0 w 3603812"/>
                <a:gd name="connsiteY1" fmla="*/ 0 h 2837683"/>
                <a:gd name="connsiteX2" fmla="*/ 6724 w 3603812"/>
                <a:gd name="connsiteY2" fmla="*/ 2837683 h 2837683"/>
                <a:gd name="connsiteX3" fmla="*/ 3603812 w 3603812"/>
                <a:gd name="connsiteY3" fmla="*/ 1719100 h 2837683"/>
                <a:gd name="connsiteX0" fmla="*/ 3603812 w 3603812"/>
                <a:gd name="connsiteY0" fmla="*/ 1719100 h 2837683"/>
                <a:gd name="connsiteX1" fmla="*/ 0 w 3603812"/>
                <a:gd name="connsiteY1" fmla="*/ 0 h 2837683"/>
                <a:gd name="connsiteX2" fmla="*/ 6724 w 3603812"/>
                <a:gd name="connsiteY2" fmla="*/ 2837683 h 2837683"/>
                <a:gd name="connsiteX3" fmla="*/ 3603812 w 3603812"/>
                <a:gd name="connsiteY3" fmla="*/ 1719100 h 2837683"/>
                <a:gd name="connsiteX0" fmla="*/ 3659796 w 3659796"/>
                <a:gd name="connsiteY0" fmla="*/ 1783924 h 2837683"/>
                <a:gd name="connsiteX1" fmla="*/ 0 w 3659796"/>
                <a:gd name="connsiteY1" fmla="*/ 0 h 2837683"/>
                <a:gd name="connsiteX2" fmla="*/ 6724 w 3659796"/>
                <a:gd name="connsiteY2" fmla="*/ 2837683 h 2837683"/>
                <a:gd name="connsiteX3" fmla="*/ 3659796 w 3659796"/>
                <a:gd name="connsiteY3" fmla="*/ 1783924 h 2837683"/>
                <a:gd name="connsiteX0" fmla="*/ 3659796 w 3659796"/>
                <a:gd name="connsiteY0" fmla="*/ 1783924 h 2835771"/>
                <a:gd name="connsiteX1" fmla="*/ 0 w 3659796"/>
                <a:gd name="connsiteY1" fmla="*/ 0 h 2835771"/>
                <a:gd name="connsiteX2" fmla="*/ 3698 w 3659796"/>
                <a:gd name="connsiteY2" fmla="*/ 2835771 h 2835771"/>
                <a:gd name="connsiteX3" fmla="*/ 3659796 w 3659796"/>
                <a:gd name="connsiteY3" fmla="*/ 1783924 h 2835771"/>
                <a:gd name="connsiteX0" fmla="*/ 3659796 w 3687181"/>
                <a:gd name="connsiteY0" fmla="*/ 1886116 h 2937963"/>
                <a:gd name="connsiteX1" fmla="*/ 1590719 w 3687181"/>
                <a:gd name="connsiteY1" fmla="*/ 744248 h 2937963"/>
                <a:gd name="connsiteX2" fmla="*/ 0 w 3687181"/>
                <a:gd name="connsiteY2" fmla="*/ 102192 h 2937963"/>
                <a:gd name="connsiteX3" fmla="*/ 3698 w 3687181"/>
                <a:gd name="connsiteY3" fmla="*/ 2937963 h 2937963"/>
                <a:gd name="connsiteX4" fmla="*/ 3659796 w 3687181"/>
                <a:gd name="connsiteY4" fmla="*/ 1886116 h 2937963"/>
                <a:gd name="connsiteX0" fmla="*/ 3656139 w 3683524"/>
                <a:gd name="connsiteY0" fmla="*/ 1301371 h 2353218"/>
                <a:gd name="connsiteX1" fmla="*/ 1587062 w 3683524"/>
                <a:gd name="connsiteY1" fmla="*/ 159503 h 2353218"/>
                <a:gd name="connsiteX2" fmla="*/ 86287 w 3683524"/>
                <a:gd name="connsiteY2" fmla="*/ 373101 h 2353218"/>
                <a:gd name="connsiteX3" fmla="*/ 41 w 3683524"/>
                <a:gd name="connsiteY3" fmla="*/ 2353218 h 2353218"/>
                <a:gd name="connsiteX4" fmla="*/ 3656139 w 3683524"/>
                <a:gd name="connsiteY4" fmla="*/ 1301371 h 2353218"/>
                <a:gd name="connsiteX0" fmla="*/ 3656739 w 3684124"/>
                <a:gd name="connsiteY0" fmla="*/ 1383295 h 2435142"/>
                <a:gd name="connsiteX1" fmla="*/ 1587662 w 3684124"/>
                <a:gd name="connsiteY1" fmla="*/ 241427 h 2435142"/>
                <a:gd name="connsiteX2" fmla="*/ 690 w 3684124"/>
                <a:gd name="connsiteY2" fmla="*/ 256201 h 2435142"/>
                <a:gd name="connsiteX3" fmla="*/ 641 w 3684124"/>
                <a:gd name="connsiteY3" fmla="*/ 2435142 h 2435142"/>
                <a:gd name="connsiteX4" fmla="*/ 3656739 w 3684124"/>
                <a:gd name="connsiteY4" fmla="*/ 1383295 h 2435142"/>
                <a:gd name="connsiteX0" fmla="*/ 3656739 w 3684124"/>
                <a:gd name="connsiteY0" fmla="*/ 1269523 h 2321370"/>
                <a:gd name="connsiteX1" fmla="*/ 1587662 w 3684124"/>
                <a:gd name="connsiteY1" fmla="*/ 127655 h 2321370"/>
                <a:gd name="connsiteX2" fmla="*/ 690 w 3684124"/>
                <a:gd name="connsiteY2" fmla="*/ 142429 h 2321370"/>
                <a:gd name="connsiteX3" fmla="*/ 641 w 3684124"/>
                <a:gd name="connsiteY3" fmla="*/ 2321370 h 2321370"/>
                <a:gd name="connsiteX4" fmla="*/ 3656739 w 3684124"/>
                <a:gd name="connsiteY4" fmla="*/ 1269523 h 2321370"/>
                <a:gd name="connsiteX0" fmla="*/ 3656739 w 3684124"/>
                <a:gd name="connsiteY0" fmla="*/ 1141868 h 2193715"/>
                <a:gd name="connsiteX1" fmla="*/ 1587662 w 3684124"/>
                <a:gd name="connsiteY1" fmla="*/ 0 h 2193715"/>
                <a:gd name="connsiteX2" fmla="*/ 690 w 3684124"/>
                <a:gd name="connsiteY2" fmla="*/ 14774 h 2193715"/>
                <a:gd name="connsiteX3" fmla="*/ 641 w 3684124"/>
                <a:gd name="connsiteY3" fmla="*/ 2193715 h 2193715"/>
                <a:gd name="connsiteX4" fmla="*/ 3656739 w 3684124"/>
                <a:gd name="connsiteY4" fmla="*/ 1141868 h 2193715"/>
                <a:gd name="connsiteX0" fmla="*/ 3656739 w 3656739"/>
                <a:gd name="connsiteY0" fmla="*/ 1141868 h 2193715"/>
                <a:gd name="connsiteX1" fmla="*/ 1587662 w 3656739"/>
                <a:gd name="connsiteY1" fmla="*/ 0 h 2193715"/>
                <a:gd name="connsiteX2" fmla="*/ 690 w 3656739"/>
                <a:gd name="connsiteY2" fmla="*/ 14774 h 2193715"/>
                <a:gd name="connsiteX3" fmla="*/ 641 w 3656739"/>
                <a:gd name="connsiteY3" fmla="*/ 2193715 h 2193715"/>
                <a:gd name="connsiteX4" fmla="*/ 3656739 w 3656739"/>
                <a:gd name="connsiteY4" fmla="*/ 1141868 h 2193715"/>
                <a:gd name="connsiteX0" fmla="*/ 3656739 w 3656739"/>
                <a:gd name="connsiteY0" fmla="*/ 1127094 h 2178941"/>
                <a:gd name="connsiteX1" fmla="*/ 1600640 w 3656739"/>
                <a:gd name="connsiteY1" fmla="*/ 155 h 2178941"/>
                <a:gd name="connsiteX2" fmla="*/ 690 w 3656739"/>
                <a:gd name="connsiteY2" fmla="*/ 0 h 2178941"/>
                <a:gd name="connsiteX3" fmla="*/ 641 w 3656739"/>
                <a:gd name="connsiteY3" fmla="*/ 2178941 h 2178941"/>
                <a:gd name="connsiteX4" fmla="*/ 3656739 w 3656739"/>
                <a:gd name="connsiteY4" fmla="*/ 1127094 h 2178941"/>
                <a:gd name="connsiteX0" fmla="*/ 3656739 w 3656739"/>
                <a:gd name="connsiteY0" fmla="*/ 1129574 h 2181421"/>
                <a:gd name="connsiteX1" fmla="*/ 1600640 w 3656739"/>
                <a:gd name="connsiteY1" fmla="*/ 0 h 2181421"/>
                <a:gd name="connsiteX2" fmla="*/ 690 w 3656739"/>
                <a:gd name="connsiteY2" fmla="*/ 2480 h 2181421"/>
                <a:gd name="connsiteX3" fmla="*/ 641 w 3656739"/>
                <a:gd name="connsiteY3" fmla="*/ 2181421 h 2181421"/>
                <a:gd name="connsiteX4" fmla="*/ 3656739 w 3656739"/>
                <a:gd name="connsiteY4" fmla="*/ 1129574 h 2181421"/>
                <a:gd name="connsiteX0" fmla="*/ 3656650 w 3656650"/>
                <a:gd name="connsiteY0" fmla="*/ 1129574 h 2181421"/>
                <a:gd name="connsiteX1" fmla="*/ 1600551 w 3656650"/>
                <a:gd name="connsiteY1" fmla="*/ 0 h 2181421"/>
                <a:gd name="connsiteX2" fmla="*/ 1528 w 3656650"/>
                <a:gd name="connsiteY2" fmla="*/ 2480 h 2181421"/>
                <a:gd name="connsiteX3" fmla="*/ 552 w 3656650"/>
                <a:gd name="connsiteY3" fmla="*/ 2181421 h 2181421"/>
                <a:gd name="connsiteX4" fmla="*/ 3656650 w 3656650"/>
                <a:gd name="connsiteY4" fmla="*/ 1129574 h 2181421"/>
                <a:gd name="connsiteX0" fmla="*/ 3657167 w 3657167"/>
                <a:gd name="connsiteY0" fmla="*/ 1129574 h 2181421"/>
                <a:gd name="connsiteX1" fmla="*/ 1601068 w 3657167"/>
                <a:gd name="connsiteY1" fmla="*/ 0 h 2181421"/>
                <a:gd name="connsiteX2" fmla="*/ 2045 w 3657167"/>
                <a:gd name="connsiteY2" fmla="*/ 2480 h 2181421"/>
                <a:gd name="connsiteX3" fmla="*/ 1069 w 3657167"/>
                <a:gd name="connsiteY3" fmla="*/ 2181421 h 2181421"/>
                <a:gd name="connsiteX4" fmla="*/ 3657167 w 3657167"/>
                <a:gd name="connsiteY4" fmla="*/ 1129574 h 2181421"/>
                <a:gd name="connsiteX0" fmla="*/ 3659337 w 3659337"/>
                <a:gd name="connsiteY0" fmla="*/ 1129574 h 2181421"/>
                <a:gd name="connsiteX1" fmla="*/ 1603238 w 3659337"/>
                <a:gd name="connsiteY1" fmla="*/ 0 h 2181421"/>
                <a:gd name="connsiteX2" fmla="*/ 507 w 3659337"/>
                <a:gd name="connsiteY2" fmla="*/ 724 h 2181421"/>
                <a:gd name="connsiteX3" fmla="*/ 3239 w 3659337"/>
                <a:gd name="connsiteY3" fmla="*/ 2181421 h 2181421"/>
                <a:gd name="connsiteX4" fmla="*/ 3659337 w 3659337"/>
                <a:gd name="connsiteY4" fmla="*/ 1129574 h 2181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9337" h="2181421">
                  <a:moveTo>
                    <a:pt x="3659337" y="1129574"/>
                  </a:moveTo>
                  <a:cubicBezTo>
                    <a:pt x="2653378" y="444416"/>
                    <a:pt x="2213204" y="297321"/>
                    <a:pt x="1603238" y="0"/>
                  </a:cubicBezTo>
                  <a:lnTo>
                    <a:pt x="507" y="724"/>
                  </a:lnTo>
                  <a:cubicBezTo>
                    <a:pt x="-960" y="399868"/>
                    <a:pt x="998" y="1233403"/>
                    <a:pt x="3239" y="2181421"/>
                  </a:cubicBezTo>
                  <a:lnTo>
                    <a:pt x="3659337" y="1129574"/>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44" dirty="0"/>
            </a:p>
          </p:txBody>
        </p:sp>
        <p:sp>
          <p:nvSpPr>
            <p:cNvPr id="16" name="Freeform 15"/>
            <p:cNvSpPr/>
            <p:nvPr userDrawn="1"/>
          </p:nvSpPr>
          <p:spPr>
            <a:xfrm rot="10800000" flipV="1">
              <a:off x="2088634" y="1741246"/>
              <a:ext cx="7057105" cy="5117249"/>
            </a:xfrm>
            <a:custGeom>
              <a:avLst/>
              <a:gdLst>
                <a:gd name="connsiteX0" fmla="*/ 3560164 w 3560164"/>
                <a:gd name="connsiteY0" fmla="*/ 2885606 h 2885606"/>
                <a:gd name="connsiteX1" fmla="*/ 0 w 3560164"/>
                <a:gd name="connsiteY1" fmla="*/ 2848131 h 2885606"/>
                <a:gd name="connsiteX2" fmla="*/ 14990 w 3560164"/>
                <a:gd name="connsiteY2" fmla="*/ 517160 h 2885606"/>
                <a:gd name="connsiteX3" fmla="*/ 314793 w 3560164"/>
                <a:gd name="connsiteY3" fmla="*/ 929390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378666 w 3560164"/>
                <a:gd name="connsiteY3" fmla="*/ 1531146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3168208 h 3168208"/>
                <a:gd name="connsiteX1" fmla="*/ 0 w 3560164"/>
                <a:gd name="connsiteY1" fmla="*/ 3130733 h 3168208"/>
                <a:gd name="connsiteX2" fmla="*/ 14990 w 3560164"/>
                <a:gd name="connsiteY2" fmla="*/ 799762 h 3168208"/>
                <a:gd name="connsiteX3" fmla="*/ 297984 w 3560164"/>
                <a:gd name="connsiteY3" fmla="*/ 1201906 h 3168208"/>
                <a:gd name="connsiteX4" fmla="*/ 3515193 w 3560164"/>
                <a:gd name="connsiteY4" fmla="*/ 282602 h 3168208"/>
                <a:gd name="connsiteX5" fmla="*/ 3560164 w 3560164"/>
                <a:gd name="connsiteY5" fmla="*/ 3168208 h 3168208"/>
                <a:gd name="connsiteX0" fmla="*/ 3560164 w 3995016"/>
                <a:gd name="connsiteY0" fmla="*/ 3066756 h 3066756"/>
                <a:gd name="connsiteX1" fmla="*/ 0 w 3995016"/>
                <a:gd name="connsiteY1" fmla="*/ 3029281 h 3066756"/>
                <a:gd name="connsiteX2" fmla="*/ 14990 w 3995016"/>
                <a:gd name="connsiteY2" fmla="*/ 698310 h 3066756"/>
                <a:gd name="connsiteX3" fmla="*/ 297984 w 3995016"/>
                <a:gd name="connsiteY3" fmla="*/ 1100454 h 3066756"/>
                <a:gd name="connsiteX4" fmla="*/ 3515193 w 3995016"/>
                <a:gd name="connsiteY4" fmla="*/ 181150 h 3066756"/>
                <a:gd name="connsiteX5" fmla="*/ 3560164 w 3995016"/>
                <a:gd name="connsiteY5" fmla="*/ 3066756 h 3066756"/>
                <a:gd name="connsiteX0" fmla="*/ 3560164 w 4081667"/>
                <a:gd name="connsiteY0" fmla="*/ 3066756 h 3066756"/>
                <a:gd name="connsiteX1" fmla="*/ 0 w 4081667"/>
                <a:gd name="connsiteY1" fmla="*/ 3029281 h 3066756"/>
                <a:gd name="connsiteX2" fmla="*/ 14990 w 4081667"/>
                <a:gd name="connsiteY2" fmla="*/ 698310 h 3066756"/>
                <a:gd name="connsiteX3" fmla="*/ 297984 w 4081667"/>
                <a:gd name="connsiteY3" fmla="*/ 1100454 h 3066756"/>
                <a:gd name="connsiteX4" fmla="*/ 3515193 w 4081667"/>
                <a:gd name="connsiteY4" fmla="*/ 181150 h 3066756"/>
                <a:gd name="connsiteX5" fmla="*/ 3560164 w 4081667"/>
                <a:gd name="connsiteY5" fmla="*/ 3066756 h 3066756"/>
                <a:gd name="connsiteX0" fmla="*/ 3560164 w 3972124"/>
                <a:gd name="connsiteY0" fmla="*/ 2986772 h 2986772"/>
                <a:gd name="connsiteX1" fmla="*/ 0 w 3972124"/>
                <a:gd name="connsiteY1" fmla="*/ 2949297 h 2986772"/>
                <a:gd name="connsiteX2" fmla="*/ 14990 w 3972124"/>
                <a:gd name="connsiteY2" fmla="*/ 618326 h 2986772"/>
                <a:gd name="connsiteX3" fmla="*/ 297984 w 3972124"/>
                <a:gd name="connsiteY3" fmla="*/ 1020470 h 2986772"/>
                <a:gd name="connsiteX4" fmla="*/ 3515193 w 3972124"/>
                <a:gd name="connsiteY4" fmla="*/ 101166 h 2986772"/>
                <a:gd name="connsiteX5" fmla="*/ 3560164 w 3972124"/>
                <a:gd name="connsiteY5" fmla="*/ 2986772 h 2986772"/>
                <a:gd name="connsiteX0" fmla="*/ 3560164 w 3851466"/>
                <a:gd name="connsiteY0" fmla="*/ 2932294 h 2932294"/>
                <a:gd name="connsiteX1" fmla="*/ 0 w 3851466"/>
                <a:gd name="connsiteY1" fmla="*/ 2894819 h 2932294"/>
                <a:gd name="connsiteX2" fmla="*/ 14990 w 3851466"/>
                <a:gd name="connsiteY2" fmla="*/ 563848 h 2932294"/>
                <a:gd name="connsiteX3" fmla="*/ 297984 w 3851466"/>
                <a:gd name="connsiteY3" fmla="*/ 965992 h 2932294"/>
                <a:gd name="connsiteX4" fmla="*/ 3515193 w 3851466"/>
                <a:gd name="connsiteY4" fmla="*/ 46688 h 2932294"/>
                <a:gd name="connsiteX5" fmla="*/ 3560164 w 3851466"/>
                <a:gd name="connsiteY5" fmla="*/ 2932294 h 2932294"/>
                <a:gd name="connsiteX0" fmla="*/ 3560164 w 3851466"/>
                <a:gd name="connsiteY0" fmla="*/ 2923744 h 2923744"/>
                <a:gd name="connsiteX1" fmla="*/ 0 w 3851466"/>
                <a:gd name="connsiteY1" fmla="*/ 2886269 h 2923744"/>
                <a:gd name="connsiteX2" fmla="*/ 14990 w 3851466"/>
                <a:gd name="connsiteY2" fmla="*/ 555298 h 2923744"/>
                <a:gd name="connsiteX3" fmla="*/ 297984 w 3851466"/>
                <a:gd name="connsiteY3" fmla="*/ 957442 h 2923744"/>
                <a:gd name="connsiteX4" fmla="*/ 3515193 w 3851466"/>
                <a:gd name="connsiteY4" fmla="*/ 38138 h 2923744"/>
                <a:gd name="connsiteX5" fmla="*/ 3560164 w 3851466"/>
                <a:gd name="connsiteY5" fmla="*/ 2923744 h 2923744"/>
                <a:gd name="connsiteX0" fmla="*/ 3560164 w 3868339"/>
                <a:gd name="connsiteY0" fmla="*/ 2887665 h 2887665"/>
                <a:gd name="connsiteX1" fmla="*/ 0 w 3868339"/>
                <a:gd name="connsiteY1" fmla="*/ 2850190 h 2887665"/>
                <a:gd name="connsiteX2" fmla="*/ 14990 w 3868339"/>
                <a:gd name="connsiteY2" fmla="*/ 519219 h 2887665"/>
                <a:gd name="connsiteX3" fmla="*/ 297984 w 3868339"/>
                <a:gd name="connsiteY3" fmla="*/ 921363 h 2887665"/>
                <a:gd name="connsiteX4" fmla="*/ 3545449 w 3868339"/>
                <a:gd name="connsiteY4" fmla="*/ 39038 h 2887665"/>
                <a:gd name="connsiteX5" fmla="*/ 3560164 w 3868339"/>
                <a:gd name="connsiteY5" fmla="*/ 2887665 h 2887665"/>
                <a:gd name="connsiteX0" fmla="*/ 3560164 w 4050446"/>
                <a:gd name="connsiteY0" fmla="*/ 2944210 h 2944210"/>
                <a:gd name="connsiteX1" fmla="*/ 0 w 4050446"/>
                <a:gd name="connsiteY1" fmla="*/ 2906735 h 2944210"/>
                <a:gd name="connsiteX2" fmla="*/ 14990 w 4050446"/>
                <a:gd name="connsiteY2" fmla="*/ 575764 h 2944210"/>
                <a:gd name="connsiteX3" fmla="*/ 297984 w 4050446"/>
                <a:gd name="connsiteY3" fmla="*/ 977908 h 2944210"/>
                <a:gd name="connsiteX4" fmla="*/ 3545449 w 4050446"/>
                <a:gd name="connsiteY4" fmla="*/ 95583 h 2944210"/>
                <a:gd name="connsiteX5" fmla="*/ 3560164 w 4050446"/>
                <a:gd name="connsiteY5" fmla="*/ 2944210 h 2944210"/>
                <a:gd name="connsiteX0" fmla="*/ 3560164 w 3989640"/>
                <a:gd name="connsiteY0" fmla="*/ 2924406 h 2924406"/>
                <a:gd name="connsiteX1" fmla="*/ 0 w 3989640"/>
                <a:gd name="connsiteY1" fmla="*/ 2886931 h 2924406"/>
                <a:gd name="connsiteX2" fmla="*/ 14990 w 3989640"/>
                <a:gd name="connsiteY2" fmla="*/ 555960 h 2924406"/>
                <a:gd name="connsiteX3" fmla="*/ 297984 w 3989640"/>
                <a:gd name="connsiteY3" fmla="*/ 958104 h 2924406"/>
                <a:gd name="connsiteX4" fmla="*/ 3545449 w 3989640"/>
                <a:gd name="connsiteY4" fmla="*/ 75779 h 2924406"/>
                <a:gd name="connsiteX5" fmla="*/ 3560164 w 3989640"/>
                <a:gd name="connsiteY5" fmla="*/ 2924406 h 2924406"/>
                <a:gd name="connsiteX0" fmla="*/ 3560164 w 4014175"/>
                <a:gd name="connsiteY0" fmla="*/ 2948316 h 2948316"/>
                <a:gd name="connsiteX1" fmla="*/ 0 w 4014175"/>
                <a:gd name="connsiteY1" fmla="*/ 2910841 h 2948316"/>
                <a:gd name="connsiteX2" fmla="*/ 14990 w 4014175"/>
                <a:gd name="connsiteY2" fmla="*/ 579870 h 2948316"/>
                <a:gd name="connsiteX3" fmla="*/ 297984 w 4014175"/>
                <a:gd name="connsiteY3" fmla="*/ 982014 h 2948316"/>
                <a:gd name="connsiteX4" fmla="*/ 3545449 w 4014175"/>
                <a:gd name="connsiteY4" fmla="*/ 99689 h 2948316"/>
                <a:gd name="connsiteX5" fmla="*/ 3560164 w 4014175"/>
                <a:gd name="connsiteY5" fmla="*/ 2948316 h 2948316"/>
                <a:gd name="connsiteX0" fmla="*/ 3560164 w 4014175"/>
                <a:gd name="connsiteY0" fmla="*/ 2946856 h 2946856"/>
                <a:gd name="connsiteX1" fmla="*/ 0 w 4014175"/>
                <a:gd name="connsiteY1" fmla="*/ 2909381 h 2946856"/>
                <a:gd name="connsiteX2" fmla="*/ 14990 w 4014175"/>
                <a:gd name="connsiteY2" fmla="*/ 578410 h 2946856"/>
                <a:gd name="connsiteX3" fmla="*/ 297984 w 4014175"/>
                <a:gd name="connsiteY3" fmla="*/ 980554 h 2946856"/>
                <a:gd name="connsiteX4" fmla="*/ 3545449 w 4014175"/>
                <a:gd name="connsiteY4" fmla="*/ 98229 h 2946856"/>
                <a:gd name="connsiteX5" fmla="*/ 3560164 w 4014175"/>
                <a:gd name="connsiteY5" fmla="*/ 2946856 h 2946856"/>
                <a:gd name="connsiteX0" fmla="*/ 3583696 w 3892754"/>
                <a:gd name="connsiteY0" fmla="*/ 2889822 h 2889822"/>
                <a:gd name="connsiteX1" fmla="*/ 0 w 3892754"/>
                <a:gd name="connsiteY1" fmla="*/ 2859071 h 2889822"/>
                <a:gd name="connsiteX2" fmla="*/ 14990 w 3892754"/>
                <a:gd name="connsiteY2" fmla="*/ 528100 h 2889822"/>
                <a:gd name="connsiteX3" fmla="*/ 297984 w 3892754"/>
                <a:gd name="connsiteY3" fmla="*/ 930244 h 2889822"/>
                <a:gd name="connsiteX4" fmla="*/ 3545449 w 3892754"/>
                <a:gd name="connsiteY4" fmla="*/ 47919 h 2889822"/>
                <a:gd name="connsiteX5" fmla="*/ 3583696 w 3892754"/>
                <a:gd name="connsiteY5" fmla="*/ 2889822 h 2889822"/>
                <a:gd name="connsiteX0" fmla="*/ 3583696 w 4065589"/>
                <a:gd name="connsiteY0" fmla="*/ 2889822 h 2889822"/>
                <a:gd name="connsiteX1" fmla="*/ 0 w 4065589"/>
                <a:gd name="connsiteY1" fmla="*/ 2859071 h 2889822"/>
                <a:gd name="connsiteX2" fmla="*/ 14990 w 4065589"/>
                <a:gd name="connsiteY2" fmla="*/ 528100 h 2889822"/>
                <a:gd name="connsiteX3" fmla="*/ 297984 w 4065589"/>
                <a:gd name="connsiteY3" fmla="*/ 930244 h 2889822"/>
                <a:gd name="connsiteX4" fmla="*/ 3545449 w 4065589"/>
                <a:gd name="connsiteY4" fmla="*/ 47919 h 2889822"/>
                <a:gd name="connsiteX5" fmla="*/ 3583696 w 4065589"/>
                <a:gd name="connsiteY5" fmla="*/ 2889822 h 2889822"/>
                <a:gd name="connsiteX0" fmla="*/ 3583696 w 4193107"/>
                <a:gd name="connsiteY0" fmla="*/ 2939141 h 2939141"/>
                <a:gd name="connsiteX1" fmla="*/ 0 w 4193107"/>
                <a:gd name="connsiteY1" fmla="*/ 2908390 h 2939141"/>
                <a:gd name="connsiteX2" fmla="*/ 14990 w 4193107"/>
                <a:gd name="connsiteY2" fmla="*/ 577419 h 2939141"/>
                <a:gd name="connsiteX3" fmla="*/ 297984 w 4193107"/>
                <a:gd name="connsiteY3" fmla="*/ 979563 h 2939141"/>
                <a:gd name="connsiteX4" fmla="*/ 3545449 w 4193107"/>
                <a:gd name="connsiteY4" fmla="*/ 97238 h 2939141"/>
                <a:gd name="connsiteX5" fmla="*/ 3583696 w 4193107"/>
                <a:gd name="connsiteY5" fmla="*/ 2939141 h 2939141"/>
                <a:gd name="connsiteX0" fmla="*/ 3583696 w 4066579"/>
                <a:gd name="connsiteY0" fmla="*/ 2939141 h 2939141"/>
                <a:gd name="connsiteX1" fmla="*/ 0 w 4066579"/>
                <a:gd name="connsiteY1" fmla="*/ 2908390 h 2939141"/>
                <a:gd name="connsiteX2" fmla="*/ 14990 w 4066579"/>
                <a:gd name="connsiteY2" fmla="*/ 577419 h 2939141"/>
                <a:gd name="connsiteX3" fmla="*/ 297984 w 4066579"/>
                <a:gd name="connsiteY3" fmla="*/ 979563 h 2939141"/>
                <a:gd name="connsiteX4" fmla="*/ 3545449 w 4066579"/>
                <a:gd name="connsiteY4" fmla="*/ 97238 h 2939141"/>
                <a:gd name="connsiteX5" fmla="*/ 3583696 w 4066579"/>
                <a:gd name="connsiteY5" fmla="*/ 2939141 h 2939141"/>
                <a:gd name="connsiteX0" fmla="*/ 3583696 w 4058392"/>
                <a:gd name="connsiteY0" fmla="*/ 2935948 h 2935948"/>
                <a:gd name="connsiteX1" fmla="*/ 0 w 4058392"/>
                <a:gd name="connsiteY1" fmla="*/ 2905197 h 2935948"/>
                <a:gd name="connsiteX2" fmla="*/ 14990 w 4058392"/>
                <a:gd name="connsiteY2" fmla="*/ 574226 h 2935948"/>
                <a:gd name="connsiteX3" fmla="*/ 297984 w 4058392"/>
                <a:gd name="connsiteY3" fmla="*/ 976370 h 2935948"/>
                <a:gd name="connsiteX4" fmla="*/ 3532002 w 4058392"/>
                <a:gd name="connsiteY4" fmla="*/ 97407 h 2935948"/>
                <a:gd name="connsiteX5" fmla="*/ 3583696 w 4058392"/>
                <a:gd name="connsiteY5" fmla="*/ 2935948 h 2935948"/>
                <a:gd name="connsiteX0" fmla="*/ 3578226 w 4052922"/>
                <a:gd name="connsiteY0" fmla="*/ 2935948 h 2935948"/>
                <a:gd name="connsiteX1" fmla="*/ 0 w 4052922"/>
                <a:gd name="connsiteY1" fmla="*/ 2927075 h 2935948"/>
                <a:gd name="connsiteX2" fmla="*/ 9520 w 4052922"/>
                <a:gd name="connsiteY2" fmla="*/ 574226 h 2935948"/>
                <a:gd name="connsiteX3" fmla="*/ 292514 w 4052922"/>
                <a:gd name="connsiteY3" fmla="*/ 976370 h 2935948"/>
                <a:gd name="connsiteX4" fmla="*/ 3526532 w 4052922"/>
                <a:gd name="connsiteY4" fmla="*/ 97407 h 2935948"/>
                <a:gd name="connsiteX5" fmla="*/ 3578226 w 4052922"/>
                <a:gd name="connsiteY5" fmla="*/ 2935948 h 2935948"/>
                <a:gd name="connsiteX0" fmla="*/ 3578226 w 4052922"/>
                <a:gd name="connsiteY0" fmla="*/ 2935948 h 2935948"/>
                <a:gd name="connsiteX1" fmla="*/ 0 w 4052922"/>
                <a:gd name="connsiteY1" fmla="*/ 2927075 h 2935948"/>
                <a:gd name="connsiteX2" fmla="*/ 9520 w 4052922"/>
                <a:gd name="connsiteY2" fmla="*/ 574226 h 2935948"/>
                <a:gd name="connsiteX3" fmla="*/ 292514 w 4052922"/>
                <a:gd name="connsiteY3" fmla="*/ 976370 h 2935948"/>
                <a:gd name="connsiteX4" fmla="*/ 3526532 w 4052922"/>
                <a:gd name="connsiteY4" fmla="*/ 97407 h 2935948"/>
                <a:gd name="connsiteX5" fmla="*/ 3578226 w 4052922"/>
                <a:gd name="connsiteY5" fmla="*/ 2935948 h 2935948"/>
                <a:gd name="connsiteX0" fmla="*/ 3571087 w 4045783"/>
                <a:gd name="connsiteY0" fmla="*/ 2935948 h 2935948"/>
                <a:gd name="connsiteX1" fmla="*/ 0 w 4045783"/>
                <a:gd name="connsiteY1" fmla="*/ 2934213 h 2935948"/>
                <a:gd name="connsiteX2" fmla="*/ 2381 w 4045783"/>
                <a:gd name="connsiteY2" fmla="*/ 574226 h 2935948"/>
                <a:gd name="connsiteX3" fmla="*/ 285375 w 4045783"/>
                <a:gd name="connsiteY3" fmla="*/ 976370 h 2935948"/>
                <a:gd name="connsiteX4" fmla="*/ 3519393 w 4045783"/>
                <a:gd name="connsiteY4" fmla="*/ 97407 h 2935948"/>
                <a:gd name="connsiteX5" fmla="*/ 3571087 w 4045783"/>
                <a:gd name="connsiteY5" fmla="*/ 2935948 h 2935948"/>
                <a:gd name="connsiteX0" fmla="*/ 3570078 w 4044774"/>
                <a:gd name="connsiteY0" fmla="*/ 2935948 h 2935948"/>
                <a:gd name="connsiteX1" fmla="*/ 2018 w 4044774"/>
                <a:gd name="connsiteY1" fmla="*/ 2931187 h 2935948"/>
                <a:gd name="connsiteX2" fmla="*/ 1372 w 4044774"/>
                <a:gd name="connsiteY2" fmla="*/ 574226 h 2935948"/>
                <a:gd name="connsiteX3" fmla="*/ 284366 w 4044774"/>
                <a:gd name="connsiteY3" fmla="*/ 976370 h 2935948"/>
                <a:gd name="connsiteX4" fmla="*/ 3518384 w 4044774"/>
                <a:gd name="connsiteY4" fmla="*/ 97407 h 2935948"/>
                <a:gd name="connsiteX5" fmla="*/ 3570078 w 4044774"/>
                <a:gd name="connsiteY5" fmla="*/ 2935948 h 2935948"/>
                <a:gd name="connsiteX0" fmla="*/ 3571087 w 4045783"/>
                <a:gd name="connsiteY0" fmla="*/ 2935948 h 2936232"/>
                <a:gd name="connsiteX1" fmla="*/ 0 w 4045783"/>
                <a:gd name="connsiteY1" fmla="*/ 2936232 h 2936232"/>
                <a:gd name="connsiteX2" fmla="*/ 2381 w 4045783"/>
                <a:gd name="connsiteY2" fmla="*/ 574226 h 2936232"/>
                <a:gd name="connsiteX3" fmla="*/ 285375 w 4045783"/>
                <a:gd name="connsiteY3" fmla="*/ 976370 h 2936232"/>
                <a:gd name="connsiteX4" fmla="*/ 3519393 w 4045783"/>
                <a:gd name="connsiteY4" fmla="*/ 97407 h 2936232"/>
                <a:gd name="connsiteX5" fmla="*/ 3571087 w 4045783"/>
                <a:gd name="connsiteY5" fmla="*/ 2935948 h 2936232"/>
                <a:gd name="connsiteX0" fmla="*/ 3571789 w 4046485"/>
                <a:gd name="connsiteY0" fmla="*/ 2935948 h 2936232"/>
                <a:gd name="connsiteX1" fmla="*/ 702 w 4046485"/>
                <a:gd name="connsiteY1" fmla="*/ 2936232 h 2936232"/>
                <a:gd name="connsiteX2" fmla="*/ 3083 w 4046485"/>
                <a:gd name="connsiteY2" fmla="*/ 574226 h 2936232"/>
                <a:gd name="connsiteX3" fmla="*/ 286077 w 4046485"/>
                <a:gd name="connsiteY3" fmla="*/ 976370 h 2936232"/>
                <a:gd name="connsiteX4" fmla="*/ 3520095 w 4046485"/>
                <a:gd name="connsiteY4" fmla="*/ 97407 h 2936232"/>
                <a:gd name="connsiteX5" fmla="*/ 3571789 w 4046485"/>
                <a:gd name="connsiteY5" fmla="*/ 2935948 h 2936232"/>
                <a:gd name="connsiteX0" fmla="*/ 3574610 w 4049306"/>
                <a:gd name="connsiteY0" fmla="*/ 2935948 h 2936232"/>
                <a:gd name="connsiteX1" fmla="*/ 3523 w 4049306"/>
                <a:gd name="connsiteY1" fmla="*/ 2936232 h 2936232"/>
                <a:gd name="connsiteX2" fmla="*/ 1868 w 4049306"/>
                <a:gd name="connsiteY2" fmla="*/ 566154 h 2936232"/>
                <a:gd name="connsiteX3" fmla="*/ 288898 w 4049306"/>
                <a:gd name="connsiteY3" fmla="*/ 976370 h 2936232"/>
                <a:gd name="connsiteX4" fmla="*/ 3522916 w 4049306"/>
                <a:gd name="connsiteY4" fmla="*/ 97407 h 2936232"/>
                <a:gd name="connsiteX5" fmla="*/ 3574610 w 4049306"/>
                <a:gd name="connsiteY5" fmla="*/ 2935948 h 293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49306" h="2936232">
                  <a:moveTo>
                    <a:pt x="3574610" y="2935948"/>
                  </a:moveTo>
                  <a:lnTo>
                    <a:pt x="3523" y="2936232"/>
                  </a:lnTo>
                  <a:cubicBezTo>
                    <a:pt x="3475" y="2780779"/>
                    <a:pt x="-3129" y="1343144"/>
                    <a:pt x="1868" y="566154"/>
                  </a:cubicBezTo>
                  <a:lnTo>
                    <a:pt x="288898" y="976370"/>
                  </a:lnTo>
                  <a:cubicBezTo>
                    <a:pt x="1178186" y="1226354"/>
                    <a:pt x="2618950" y="-407363"/>
                    <a:pt x="3522916" y="97407"/>
                  </a:cubicBezTo>
                  <a:cubicBezTo>
                    <a:pt x="4426882" y="602177"/>
                    <a:pt x="3976479" y="2347234"/>
                    <a:pt x="3574610" y="2935948"/>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44" dirty="0"/>
            </a:p>
          </p:txBody>
        </p:sp>
      </p:grpSp>
      <p:sp>
        <p:nvSpPr>
          <p:cNvPr id="17"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5339024" y="3798122"/>
            <a:ext cx="6582043" cy="1159933"/>
          </a:xfrm>
        </p:spPr>
        <p:txBody>
          <a:bodyPr lIns="0" tIns="0" rIns="0" bIns="0" anchor="b">
            <a:normAutofit/>
          </a:bodyPr>
          <a:lstStyle>
            <a:lvl1pPr marL="0" indent="0" algn="r">
              <a:lnSpc>
                <a:spcPct val="100000"/>
              </a:lnSpc>
              <a:buNone/>
              <a:defRPr sz="3600">
                <a:solidFill>
                  <a:schemeClr val="bg2">
                    <a:lumMod val="40000"/>
                    <a:lumOff val="60000"/>
                  </a:schemeClr>
                </a:solidFill>
                <a:latin typeface="Verdana" panose="020B0604030504040204" pitchFamily="34" charset="0"/>
                <a:ea typeface="Verdana" panose="020B0604030504040204" pitchFamily="34" charset="0"/>
                <a:cs typeface="Verdana" panose="020B0604030504040204" pitchFamily="34" charset="0"/>
              </a:defRPr>
            </a:lvl1pPr>
            <a:lvl2pPr>
              <a:defRPr sz="2400">
                <a:solidFill>
                  <a:schemeClr val="bg1"/>
                </a:solidFill>
              </a:defRPr>
            </a:lvl2pPr>
          </a:lstStyle>
          <a:p>
            <a:pPr lvl="0"/>
            <a:r>
              <a:rPr lang="en-US" dirty="0"/>
              <a:t>Click to insert title</a:t>
            </a:r>
            <a:endParaRPr lang="pt-PT" dirty="0"/>
          </a:p>
        </p:txBody>
      </p:sp>
      <p:sp>
        <p:nvSpPr>
          <p:cNvPr id="19"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6355364" y="5111404"/>
            <a:ext cx="5565704" cy="1595120"/>
          </a:xfrm>
        </p:spPr>
        <p:txBody>
          <a:bodyPr lIns="0" tIns="0" rIns="0" bIns="0">
            <a:normAutofit/>
          </a:bodyPr>
          <a:lstStyle>
            <a:lvl1pPr marL="0" indent="0" algn="r">
              <a:lnSpc>
                <a:spcPct val="100000"/>
              </a:lnSpc>
              <a:buNone/>
              <a:defRPr sz="2000">
                <a:solidFill>
                  <a:schemeClr val="bg2">
                    <a:lumMod val="40000"/>
                    <a:lumOff val="60000"/>
                  </a:schemeClr>
                </a:solidFill>
                <a:latin typeface="Verdana" panose="020B0604030504040204" pitchFamily="34" charset="0"/>
                <a:ea typeface="Verdana" panose="020B0604030504040204" pitchFamily="34" charset="0"/>
                <a:cs typeface="Verdana" panose="020B0604030504040204" pitchFamily="34" charset="0"/>
              </a:defRPr>
            </a:lvl1pPr>
            <a:lvl2pPr>
              <a:defRPr sz="1600">
                <a:solidFill>
                  <a:schemeClr val="bg1"/>
                </a:solidFill>
              </a:defRPr>
            </a:lvl2pPr>
          </a:lstStyle>
          <a:p>
            <a:pPr lvl="0"/>
            <a:r>
              <a:rPr lang="en-US" dirty="0"/>
              <a:t>Click to insert presenter, location, and date</a:t>
            </a:r>
            <a:endParaRPr lang="pt-PT" dirty="0"/>
          </a:p>
        </p:txBody>
      </p:sp>
      <p:pic>
        <p:nvPicPr>
          <p:cNvPr id="20"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543984" y="539751"/>
            <a:ext cx="3087429" cy="688815"/>
          </a:xfrm>
          <a:prstGeom prst="rect">
            <a:avLst/>
          </a:prstGeom>
        </p:spPr>
      </p:pic>
      <p:graphicFrame>
        <p:nvGraphicFramePr>
          <p:cNvPr id="5" name="Object 4" hidden="1"/>
          <p:cNvGraphicFramePr>
            <a:graphicFrameLocks noChangeAspect="1"/>
          </p:cNvGraphicFramePr>
          <p:nvPr>
            <p:custDataLst>
              <p:tags r:id="rId2"/>
            </p:custDataLst>
          </p:nvPr>
        </p:nvGraphicFramePr>
        <p:xfrm>
          <a:off x="1" y="1"/>
          <a:ext cx="195384" cy="158751"/>
        </p:xfrm>
        <a:graphic>
          <a:graphicData uri="http://schemas.openxmlformats.org/presentationml/2006/ole">
            <mc:AlternateContent xmlns:mc="http://schemas.openxmlformats.org/markup-compatibility/2006">
              <mc:Choice xmlns:v="urn:schemas-microsoft-com:vml" Requires="v">
                <p:oleObj spid="_x0000_s2050"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Content &amp; Leadline">
    <p:spTree>
      <p:nvGrpSpPr>
        <p:cNvPr id="1" name=""/>
        <p:cNvGrpSpPr/>
        <p:nvPr/>
      </p:nvGrpSpPr>
      <p:grpSpPr>
        <a:xfrm>
          <a:off x="0" y="0"/>
          <a:ext cx="0" cy="0"/>
          <a:chOff x="0" y="0"/>
          <a:chExt cx="0" cy="0"/>
        </a:xfrm>
      </p:grpSpPr>
      <p:sp>
        <p:nvSpPr>
          <p:cNvPr id="12" name="Freeform 11"/>
          <p:cNvSpPr/>
          <p:nvPr userDrawn="1"/>
        </p:nvSpPr>
        <p:spPr>
          <a:xfrm flipH="1">
            <a:off x="9343143" y="-8075"/>
            <a:ext cx="2856932" cy="1787821"/>
          </a:xfrm>
          <a:custGeom>
            <a:avLst/>
            <a:gdLst>
              <a:gd name="connsiteX0" fmla="*/ 4549 w 4367284"/>
              <a:gd name="connsiteY0" fmla="*/ 0 h 1287439"/>
              <a:gd name="connsiteX1" fmla="*/ 4226257 w 4367284"/>
              <a:gd name="connsiteY1" fmla="*/ 0 h 1287439"/>
              <a:gd name="connsiteX2" fmla="*/ 4367284 w 4367284"/>
              <a:gd name="connsiteY2" fmla="*/ 746078 h 1287439"/>
              <a:gd name="connsiteX3" fmla="*/ 0 w 4367284"/>
              <a:gd name="connsiteY3" fmla="*/ 1287439 h 1287439"/>
              <a:gd name="connsiteX4" fmla="*/ 4549 w 4367284"/>
              <a:gd name="connsiteY4" fmla="*/ 0 h 1287439"/>
              <a:gd name="connsiteX0" fmla="*/ 4549 w 4367353"/>
              <a:gd name="connsiteY0" fmla="*/ 0 h 1287439"/>
              <a:gd name="connsiteX1" fmla="*/ 4226257 w 4367353"/>
              <a:gd name="connsiteY1" fmla="*/ 0 h 1287439"/>
              <a:gd name="connsiteX2" fmla="*/ 4367284 w 4367353"/>
              <a:gd name="connsiteY2" fmla="*/ 746078 h 1287439"/>
              <a:gd name="connsiteX3" fmla="*/ 0 w 4367353"/>
              <a:gd name="connsiteY3" fmla="*/ 1287439 h 1287439"/>
              <a:gd name="connsiteX4" fmla="*/ 4549 w 4367353"/>
              <a:gd name="connsiteY4" fmla="*/ 0 h 1287439"/>
              <a:gd name="connsiteX0" fmla="*/ 4549 w 4367392"/>
              <a:gd name="connsiteY0" fmla="*/ 0 h 1287439"/>
              <a:gd name="connsiteX1" fmla="*/ 4226257 w 4367392"/>
              <a:gd name="connsiteY1" fmla="*/ 0 h 1287439"/>
              <a:gd name="connsiteX2" fmla="*/ 4367284 w 4367392"/>
              <a:gd name="connsiteY2" fmla="*/ 746078 h 1287439"/>
              <a:gd name="connsiteX3" fmla="*/ 0 w 4367392"/>
              <a:gd name="connsiteY3" fmla="*/ 1287439 h 1287439"/>
              <a:gd name="connsiteX4" fmla="*/ 4549 w 4367392"/>
              <a:gd name="connsiteY4" fmla="*/ 0 h 1287439"/>
              <a:gd name="connsiteX0" fmla="*/ 4549 w 4367392"/>
              <a:gd name="connsiteY0" fmla="*/ 0 h 1287439"/>
              <a:gd name="connsiteX1" fmla="*/ 4226257 w 4367392"/>
              <a:gd name="connsiteY1" fmla="*/ 0 h 1287439"/>
              <a:gd name="connsiteX2" fmla="*/ 4367284 w 4367392"/>
              <a:gd name="connsiteY2" fmla="*/ 746078 h 1287439"/>
              <a:gd name="connsiteX3" fmla="*/ 0 w 4367392"/>
              <a:gd name="connsiteY3" fmla="*/ 1287439 h 1287439"/>
              <a:gd name="connsiteX4" fmla="*/ 4549 w 4367392"/>
              <a:gd name="connsiteY4" fmla="*/ 0 h 1287439"/>
              <a:gd name="connsiteX0" fmla="*/ 4549 w 4367392"/>
              <a:gd name="connsiteY0" fmla="*/ 0 h 1476564"/>
              <a:gd name="connsiteX1" fmla="*/ 4226257 w 4367392"/>
              <a:gd name="connsiteY1" fmla="*/ 0 h 1476564"/>
              <a:gd name="connsiteX2" fmla="*/ 4367284 w 4367392"/>
              <a:gd name="connsiteY2" fmla="*/ 746078 h 1476564"/>
              <a:gd name="connsiteX3" fmla="*/ 0 w 4367392"/>
              <a:gd name="connsiteY3" fmla="*/ 1287439 h 1476564"/>
              <a:gd name="connsiteX4" fmla="*/ 4549 w 4367392"/>
              <a:gd name="connsiteY4" fmla="*/ 0 h 1476564"/>
              <a:gd name="connsiteX0" fmla="*/ 4549 w 4367392"/>
              <a:gd name="connsiteY0" fmla="*/ 0 h 1455845"/>
              <a:gd name="connsiteX1" fmla="*/ 4226257 w 4367392"/>
              <a:gd name="connsiteY1" fmla="*/ 0 h 1455845"/>
              <a:gd name="connsiteX2" fmla="*/ 4367284 w 4367392"/>
              <a:gd name="connsiteY2" fmla="*/ 746078 h 1455845"/>
              <a:gd name="connsiteX3" fmla="*/ 0 w 4367392"/>
              <a:gd name="connsiteY3" fmla="*/ 1287439 h 1455845"/>
              <a:gd name="connsiteX4" fmla="*/ 4549 w 4367392"/>
              <a:gd name="connsiteY4" fmla="*/ 0 h 1455845"/>
              <a:gd name="connsiteX0" fmla="*/ 4549 w 4367392"/>
              <a:gd name="connsiteY0" fmla="*/ 0 h 1474528"/>
              <a:gd name="connsiteX1" fmla="*/ 4226257 w 4367392"/>
              <a:gd name="connsiteY1" fmla="*/ 0 h 1474528"/>
              <a:gd name="connsiteX2" fmla="*/ 4367284 w 4367392"/>
              <a:gd name="connsiteY2" fmla="*/ 746078 h 1474528"/>
              <a:gd name="connsiteX3" fmla="*/ 0 w 4367392"/>
              <a:gd name="connsiteY3" fmla="*/ 1287439 h 1474528"/>
              <a:gd name="connsiteX4" fmla="*/ 4549 w 4367392"/>
              <a:gd name="connsiteY4" fmla="*/ 0 h 14745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67392" h="1474528">
                <a:moveTo>
                  <a:pt x="4549" y="0"/>
                </a:moveTo>
                <a:lnTo>
                  <a:pt x="4226257" y="0"/>
                </a:lnTo>
                <a:cubicBezTo>
                  <a:pt x="4309660" y="189553"/>
                  <a:pt x="4370317" y="224429"/>
                  <a:pt x="4367284" y="746078"/>
                </a:cubicBezTo>
                <a:cubicBezTo>
                  <a:pt x="3311857" y="962927"/>
                  <a:pt x="1501253" y="1857612"/>
                  <a:pt x="0" y="1287439"/>
                </a:cubicBezTo>
                <a:cubicBezTo>
                  <a:pt x="1516" y="858293"/>
                  <a:pt x="3033" y="429146"/>
                  <a:pt x="4549" y="0"/>
                </a:cubicBez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schemeClr val="tx2">
                  <a:lumMod val="50000"/>
                </a:schemeClr>
              </a:solidFill>
            </a:endParaRPr>
          </a:p>
        </p:txBody>
      </p:sp>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9218"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a:xfrm>
            <a:off x="3" y="1"/>
            <a:ext cx="9197589" cy="1062180"/>
          </a:xfrm>
        </p:spPr>
        <p:txBody>
          <a:bodyPr/>
          <a:lstStyle>
            <a:lvl1pPr>
              <a:defRPr sz="2400"/>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955800"/>
            <a:ext cx="11793979" cy="4026560"/>
          </a:xfrm>
        </p:spPr>
        <p:txBody>
          <a:bodyPr/>
          <a:lstStyle>
            <a:lvl1pPr>
              <a:buClr>
                <a:schemeClr val="accent2"/>
              </a:buClr>
              <a:defRPr b="0"/>
            </a:lvl1pPr>
            <a:lvl2pPr marL="533387" indent="-205312">
              <a:buFont typeface="Arial" panose="020B0604020202020204" pitchFamily="34" charset="0"/>
              <a:buChar char="̶"/>
              <a:defRPr/>
            </a:lvl2pPr>
            <a:lvl3pPr marL="761981" indent="-186262">
              <a:defRPr/>
            </a:lvl3pPr>
            <a:lvl4pPr marL="990575" indent="-186262">
              <a:buFont typeface="Courier New" panose="02070309020205020404" pitchFamily="49" charset="0"/>
              <a:buChar char="o"/>
              <a:defRPr/>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39" y="1495448"/>
            <a:ext cx="9857879" cy="460353"/>
          </a:xfrm>
        </p:spPr>
        <p:txBody>
          <a:bodyPr/>
          <a:lstStyle>
            <a:lvl1pPr marL="0" indent="0">
              <a:buNone/>
              <a:defRPr sz="2000"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Content &amp; Leadline">
    <p:spTree>
      <p:nvGrpSpPr>
        <p:cNvPr id="1" name=""/>
        <p:cNvGrpSpPr/>
        <p:nvPr/>
      </p:nvGrpSpPr>
      <p:grpSpPr>
        <a:xfrm>
          <a:off x="0" y="0"/>
          <a:ext cx="0" cy="0"/>
          <a:chOff x="0" y="0"/>
          <a:chExt cx="0" cy="0"/>
        </a:xfrm>
      </p:grpSpPr>
      <p:sp>
        <p:nvSpPr>
          <p:cNvPr id="7" name="Freeform 6"/>
          <p:cNvSpPr/>
          <p:nvPr userDrawn="1"/>
        </p:nvSpPr>
        <p:spPr>
          <a:xfrm>
            <a:off x="-1024" y="-12074"/>
            <a:ext cx="12223287" cy="1578395"/>
          </a:xfrm>
          <a:custGeom>
            <a:avLst/>
            <a:gdLst>
              <a:gd name="connsiteX0" fmla="*/ 4549 w 4367284"/>
              <a:gd name="connsiteY0" fmla="*/ 0 h 1287439"/>
              <a:gd name="connsiteX1" fmla="*/ 4226257 w 4367284"/>
              <a:gd name="connsiteY1" fmla="*/ 0 h 1287439"/>
              <a:gd name="connsiteX2" fmla="*/ 4367284 w 4367284"/>
              <a:gd name="connsiteY2" fmla="*/ 746078 h 1287439"/>
              <a:gd name="connsiteX3" fmla="*/ 0 w 4367284"/>
              <a:gd name="connsiteY3" fmla="*/ 1287439 h 1287439"/>
              <a:gd name="connsiteX4" fmla="*/ 4549 w 4367284"/>
              <a:gd name="connsiteY4" fmla="*/ 0 h 1287439"/>
              <a:gd name="connsiteX0" fmla="*/ 4549 w 4367353"/>
              <a:gd name="connsiteY0" fmla="*/ 0 h 1287439"/>
              <a:gd name="connsiteX1" fmla="*/ 4226257 w 4367353"/>
              <a:gd name="connsiteY1" fmla="*/ 0 h 1287439"/>
              <a:gd name="connsiteX2" fmla="*/ 4367284 w 4367353"/>
              <a:gd name="connsiteY2" fmla="*/ 746078 h 1287439"/>
              <a:gd name="connsiteX3" fmla="*/ 0 w 4367353"/>
              <a:gd name="connsiteY3" fmla="*/ 1287439 h 1287439"/>
              <a:gd name="connsiteX4" fmla="*/ 4549 w 4367353"/>
              <a:gd name="connsiteY4" fmla="*/ 0 h 1287439"/>
              <a:gd name="connsiteX0" fmla="*/ 4549 w 4367392"/>
              <a:gd name="connsiteY0" fmla="*/ 0 h 1287439"/>
              <a:gd name="connsiteX1" fmla="*/ 4226257 w 4367392"/>
              <a:gd name="connsiteY1" fmla="*/ 0 h 1287439"/>
              <a:gd name="connsiteX2" fmla="*/ 4367284 w 4367392"/>
              <a:gd name="connsiteY2" fmla="*/ 746078 h 1287439"/>
              <a:gd name="connsiteX3" fmla="*/ 0 w 4367392"/>
              <a:gd name="connsiteY3" fmla="*/ 1287439 h 1287439"/>
              <a:gd name="connsiteX4" fmla="*/ 4549 w 4367392"/>
              <a:gd name="connsiteY4" fmla="*/ 0 h 1287439"/>
              <a:gd name="connsiteX0" fmla="*/ 4549 w 4367392"/>
              <a:gd name="connsiteY0" fmla="*/ 0 h 1287439"/>
              <a:gd name="connsiteX1" fmla="*/ 4226257 w 4367392"/>
              <a:gd name="connsiteY1" fmla="*/ 0 h 1287439"/>
              <a:gd name="connsiteX2" fmla="*/ 4367284 w 4367392"/>
              <a:gd name="connsiteY2" fmla="*/ 746078 h 1287439"/>
              <a:gd name="connsiteX3" fmla="*/ 0 w 4367392"/>
              <a:gd name="connsiteY3" fmla="*/ 1287439 h 1287439"/>
              <a:gd name="connsiteX4" fmla="*/ 4549 w 4367392"/>
              <a:gd name="connsiteY4" fmla="*/ 0 h 1287439"/>
              <a:gd name="connsiteX0" fmla="*/ 4549 w 4367392"/>
              <a:gd name="connsiteY0" fmla="*/ 0 h 1476564"/>
              <a:gd name="connsiteX1" fmla="*/ 4226257 w 4367392"/>
              <a:gd name="connsiteY1" fmla="*/ 0 h 1476564"/>
              <a:gd name="connsiteX2" fmla="*/ 4367284 w 4367392"/>
              <a:gd name="connsiteY2" fmla="*/ 746078 h 1476564"/>
              <a:gd name="connsiteX3" fmla="*/ 0 w 4367392"/>
              <a:gd name="connsiteY3" fmla="*/ 1287439 h 1476564"/>
              <a:gd name="connsiteX4" fmla="*/ 4549 w 4367392"/>
              <a:gd name="connsiteY4" fmla="*/ 0 h 1476564"/>
              <a:gd name="connsiteX0" fmla="*/ 4549 w 4367392"/>
              <a:gd name="connsiteY0" fmla="*/ 0 h 1455845"/>
              <a:gd name="connsiteX1" fmla="*/ 4226257 w 4367392"/>
              <a:gd name="connsiteY1" fmla="*/ 0 h 1455845"/>
              <a:gd name="connsiteX2" fmla="*/ 4367284 w 4367392"/>
              <a:gd name="connsiteY2" fmla="*/ 746078 h 1455845"/>
              <a:gd name="connsiteX3" fmla="*/ 0 w 4367392"/>
              <a:gd name="connsiteY3" fmla="*/ 1287439 h 1455845"/>
              <a:gd name="connsiteX4" fmla="*/ 4549 w 4367392"/>
              <a:gd name="connsiteY4" fmla="*/ 0 h 1455845"/>
              <a:gd name="connsiteX0" fmla="*/ 4549 w 4367392"/>
              <a:gd name="connsiteY0" fmla="*/ 0 h 1474528"/>
              <a:gd name="connsiteX1" fmla="*/ 4226257 w 4367392"/>
              <a:gd name="connsiteY1" fmla="*/ 0 h 1474528"/>
              <a:gd name="connsiteX2" fmla="*/ 4367284 w 4367392"/>
              <a:gd name="connsiteY2" fmla="*/ 746078 h 1474528"/>
              <a:gd name="connsiteX3" fmla="*/ 0 w 4367392"/>
              <a:gd name="connsiteY3" fmla="*/ 1287439 h 1474528"/>
              <a:gd name="connsiteX4" fmla="*/ 4549 w 4367392"/>
              <a:gd name="connsiteY4" fmla="*/ 0 h 1474528"/>
              <a:gd name="connsiteX0" fmla="*/ 453 w 4363296"/>
              <a:gd name="connsiteY0" fmla="*/ 0 h 877187"/>
              <a:gd name="connsiteX1" fmla="*/ 4222161 w 4363296"/>
              <a:gd name="connsiteY1" fmla="*/ 0 h 877187"/>
              <a:gd name="connsiteX2" fmla="*/ 4363188 w 4363296"/>
              <a:gd name="connsiteY2" fmla="*/ 746078 h 877187"/>
              <a:gd name="connsiteX3" fmla="*/ 332 w 4363296"/>
              <a:gd name="connsiteY3" fmla="*/ 384125 h 877187"/>
              <a:gd name="connsiteX4" fmla="*/ 453 w 4363296"/>
              <a:gd name="connsiteY4" fmla="*/ 0 h 877187"/>
              <a:gd name="connsiteX0" fmla="*/ 136 w 4362979"/>
              <a:gd name="connsiteY0" fmla="*/ 0 h 902096"/>
              <a:gd name="connsiteX1" fmla="*/ 4221844 w 4362979"/>
              <a:gd name="connsiteY1" fmla="*/ 0 h 902096"/>
              <a:gd name="connsiteX2" fmla="*/ 4362871 w 4362979"/>
              <a:gd name="connsiteY2" fmla="*/ 746078 h 902096"/>
              <a:gd name="connsiteX3" fmla="*/ 8871 w 4362979"/>
              <a:gd name="connsiteY3" fmla="*/ 454973 h 902096"/>
              <a:gd name="connsiteX4" fmla="*/ 136 w 4362979"/>
              <a:gd name="connsiteY4" fmla="*/ 0 h 902096"/>
              <a:gd name="connsiteX0" fmla="*/ 136 w 4362979"/>
              <a:gd name="connsiteY0" fmla="*/ 0 h 787416"/>
              <a:gd name="connsiteX1" fmla="*/ 4221844 w 4362979"/>
              <a:gd name="connsiteY1" fmla="*/ 0 h 787416"/>
              <a:gd name="connsiteX2" fmla="*/ 4362871 w 4362979"/>
              <a:gd name="connsiteY2" fmla="*/ 746078 h 787416"/>
              <a:gd name="connsiteX3" fmla="*/ 8871 w 4362979"/>
              <a:gd name="connsiteY3" fmla="*/ 454973 h 787416"/>
              <a:gd name="connsiteX4" fmla="*/ 136 w 4362979"/>
              <a:gd name="connsiteY4" fmla="*/ 0 h 787416"/>
              <a:gd name="connsiteX0" fmla="*/ 136 w 4362979"/>
              <a:gd name="connsiteY0" fmla="*/ 0 h 828407"/>
              <a:gd name="connsiteX1" fmla="*/ 4221844 w 4362979"/>
              <a:gd name="connsiteY1" fmla="*/ 0 h 828407"/>
              <a:gd name="connsiteX2" fmla="*/ 4362871 w 4362979"/>
              <a:gd name="connsiteY2" fmla="*/ 746078 h 828407"/>
              <a:gd name="connsiteX3" fmla="*/ 8871 w 4362979"/>
              <a:gd name="connsiteY3" fmla="*/ 454973 h 828407"/>
              <a:gd name="connsiteX4" fmla="*/ 136 w 4362979"/>
              <a:gd name="connsiteY4" fmla="*/ 0 h 828407"/>
              <a:gd name="connsiteX0" fmla="*/ 136 w 4398365"/>
              <a:gd name="connsiteY0" fmla="*/ 0 h 613855"/>
              <a:gd name="connsiteX1" fmla="*/ 4221844 w 4398365"/>
              <a:gd name="connsiteY1" fmla="*/ 0 h 613855"/>
              <a:gd name="connsiteX2" fmla="*/ 4398295 w 4398365"/>
              <a:gd name="connsiteY2" fmla="*/ 506965 h 613855"/>
              <a:gd name="connsiteX3" fmla="*/ 8871 w 4398365"/>
              <a:gd name="connsiteY3" fmla="*/ 454973 h 613855"/>
              <a:gd name="connsiteX4" fmla="*/ 136 w 4398365"/>
              <a:gd name="connsiteY4" fmla="*/ 0 h 613855"/>
              <a:gd name="connsiteX0" fmla="*/ 136 w 4398352"/>
              <a:gd name="connsiteY0" fmla="*/ 0 h 613855"/>
              <a:gd name="connsiteX1" fmla="*/ 4221844 w 4398352"/>
              <a:gd name="connsiteY1" fmla="*/ 0 h 613855"/>
              <a:gd name="connsiteX2" fmla="*/ 4398295 w 4398352"/>
              <a:gd name="connsiteY2" fmla="*/ 506965 h 613855"/>
              <a:gd name="connsiteX3" fmla="*/ 8871 w 4398352"/>
              <a:gd name="connsiteY3" fmla="*/ 454973 h 613855"/>
              <a:gd name="connsiteX4" fmla="*/ 136 w 4398352"/>
              <a:gd name="connsiteY4" fmla="*/ 0 h 613855"/>
              <a:gd name="connsiteX0" fmla="*/ 136 w 4398421"/>
              <a:gd name="connsiteY0" fmla="*/ 0 h 613855"/>
              <a:gd name="connsiteX1" fmla="*/ 4288264 w 4398421"/>
              <a:gd name="connsiteY1" fmla="*/ 4428 h 613855"/>
              <a:gd name="connsiteX2" fmla="*/ 4398295 w 4398421"/>
              <a:gd name="connsiteY2" fmla="*/ 506965 h 613855"/>
              <a:gd name="connsiteX3" fmla="*/ 8871 w 4398421"/>
              <a:gd name="connsiteY3" fmla="*/ 454973 h 613855"/>
              <a:gd name="connsiteX4" fmla="*/ 136 w 4398421"/>
              <a:gd name="connsiteY4" fmla="*/ 0 h 613855"/>
              <a:gd name="connsiteX0" fmla="*/ 136 w 4398421"/>
              <a:gd name="connsiteY0" fmla="*/ 0 h 613855"/>
              <a:gd name="connsiteX1" fmla="*/ 4288264 w 4398421"/>
              <a:gd name="connsiteY1" fmla="*/ 4428 h 613855"/>
              <a:gd name="connsiteX2" fmla="*/ 4398295 w 4398421"/>
              <a:gd name="connsiteY2" fmla="*/ 506965 h 613855"/>
              <a:gd name="connsiteX3" fmla="*/ 8871 w 4398421"/>
              <a:gd name="connsiteY3" fmla="*/ 454973 h 613855"/>
              <a:gd name="connsiteX4" fmla="*/ 136 w 4398421"/>
              <a:gd name="connsiteY4" fmla="*/ 0 h 613855"/>
              <a:gd name="connsiteX0" fmla="*/ 136 w 4482229"/>
              <a:gd name="connsiteY0" fmla="*/ 4428 h 618283"/>
              <a:gd name="connsiteX1" fmla="*/ 4465385 w 4482229"/>
              <a:gd name="connsiteY1" fmla="*/ 0 h 618283"/>
              <a:gd name="connsiteX2" fmla="*/ 4398295 w 4482229"/>
              <a:gd name="connsiteY2" fmla="*/ 511393 h 618283"/>
              <a:gd name="connsiteX3" fmla="*/ 8871 w 4482229"/>
              <a:gd name="connsiteY3" fmla="*/ 459401 h 618283"/>
              <a:gd name="connsiteX4" fmla="*/ 136 w 4482229"/>
              <a:gd name="connsiteY4" fmla="*/ 4428 h 618283"/>
              <a:gd name="connsiteX0" fmla="*/ 136 w 4482649"/>
              <a:gd name="connsiteY0" fmla="*/ 4428 h 618283"/>
              <a:gd name="connsiteX1" fmla="*/ 4465385 w 4482649"/>
              <a:gd name="connsiteY1" fmla="*/ 0 h 618283"/>
              <a:gd name="connsiteX2" fmla="*/ 4398295 w 4482649"/>
              <a:gd name="connsiteY2" fmla="*/ 511393 h 618283"/>
              <a:gd name="connsiteX3" fmla="*/ 8871 w 4482649"/>
              <a:gd name="connsiteY3" fmla="*/ 459401 h 618283"/>
              <a:gd name="connsiteX4" fmla="*/ 136 w 4482649"/>
              <a:gd name="connsiteY4" fmla="*/ 4428 h 618283"/>
              <a:gd name="connsiteX0" fmla="*/ 136 w 4478982"/>
              <a:gd name="connsiteY0" fmla="*/ 4428 h 580313"/>
              <a:gd name="connsiteX1" fmla="*/ 4465385 w 4478982"/>
              <a:gd name="connsiteY1" fmla="*/ 0 h 580313"/>
              <a:gd name="connsiteX2" fmla="*/ 4354015 w 4478982"/>
              <a:gd name="connsiteY2" fmla="*/ 467113 h 580313"/>
              <a:gd name="connsiteX3" fmla="*/ 8871 w 4478982"/>
              <a:gd name="connsiteY3" fmla="*/ 459401 h 580313"/>
              <a:gd name="connsiteX4" fmla="*/ 136 w 4478982"/>
              <a:gd name="connsiteY4" fmla="*/ 4428 h 580313"/>
              <a:gd name="connsiteX0" fmla="*/ 13405 w 4492251"/>
              <a:gd name="connsiteY0" fmla="*/ 4428 h 578990"/>
              <a:gd name="connsiteX1" fmla="*/ 4478654 w 4492251"/>
              <a:gd name="connsiteY1" fmla="*/ 0 h 578990"/>
              <a:gd name="connsiteX2" fmla="*/ 4367284 w 4492251"/>
              <a:gd name="connsiteY2" fmla="*/ 467113 h 578990"/>
              <a:gd name="connsiteX3" fmla="*/ 0 w 4492251"/>
              <a:gd name="connsiteY3" fmla="*/ 450546 h 578990"/>
              <a:gd name="connsiteX4" fmla="*/ 13405 w 4492251"/>
              <a:gd name="connsiteY4" fmla="*/ 4428 h 578990"/>
              <a:gd name="connsiteX0" fmla="*/ 428 w 4479274"/>
              <a:gd name="connsiteY0" fmla="*/ 4428 h 578725"/>
              <a:gd name="connsiteX1" fmla="*/ 4465677 w 4479274"/>
              <a:gd name="connsiteY1" fmla="*/ 0 h 578725"/>
              <a:gd name="connsiteX2" fmla="*/ 4354307 w 4479274"/>
              <a:gd name="connsiteY2" fmla="*/ 467113 h 578725"/>
              <a:gd name="connsiteX3" fmla="*/ 521 w 4479274"/>
              <a:gd name="connsiteY3" fmla="*/ 448746 h 578725"/>
              <a:gd name="connsiteX4" fmla="*/ 428 w 4479274"/>
              <a:gd name="connsiteY4" fmla="*/ 4428 h 578725"/>
              <a:gd name="connsiteX0" fmla="*/ 4406 w 4483252"/>
              <a:gd name="connsiteY0" fmla="*/ 4428 h 578990"/>
              <a:gd name="connsiteX1" fmla="*/ 4469655 w 4483252"/>
              <a:gd name="connsiteY1" fmla="*/ 0 h 578990"/>
              <a:gd name="connsiteX2" fmla="*/ 4358285 w 4483252"/>
              <a:gd name="connsiteY2" fmla="*/ 467113 h 578990"/>
              <a:gd name="connsiteX3" fmla="*/ 0 w 4483252"/>
              <a:gd name="connsiteY3" fmla="*/ 450546 h 578990"/>
              <a:gd name="connsiteX4" fmla="*/ 4406 w 4483252"/>
              <a:gd name="connsiteY4" fmla="*/ 4428 h 578990"/>
              <a:gd name="connsiteX0" fmla="*/ 347 w 4484592"/>
              <a:gd name="connsiteY0" fmla="*/ 47621 h 578990"/>
              <a:gd name="connsiteX1" fmla="*/ 4470995 w 4484592"/>
              <a:gd name="connsiteY1" fmla="*/ 0 h 578990"/>
              <a:gd name="connsiteX2" fmla="*/ 4359625 w 4484592"/>
              <a:gd name="connsiteY2" fmla="*/ 467113 h 578990"/>
              <a:gd name="connsiteX3" fmla="*/ 1340 w 4484592"/>
              <a:gd name="connsiteY3" fmla="*/ 450546 h 578990"/>
              <a:gd name="connsiteX4" fmla="*/ 347 w 4484592"/>
              <a:gd name="connsiteY4" fmla="*/ 47621 h 578990"/>
              <a:gd name="connsiteX0" fmla="*/ 1707 w 4483252"/>
              <a:gd name="connsiteY0" fmla="*/ 3528 h 578990"/>
              <a:gd name="connsiteX1" fmla="*/ 4469655 w 4483252"/>
              <a:gd name="connsiteY1" fmla="*/ 0 h 578990"/>
              <a:gd name="connsiteX2" fmla="*/ 4358285 w 4483252"/>
              <a:gd name="connsiteY2" fmla="*/ 467113 h 578990"/>
              <a:gd name="connsiteX3" fmla="*/ 0 w 4483252"/>
              <a:gd name="connsiteY3" fmla="*/ 450546 h 578990"/>
              <a:gd name="connsiteX4" fmla="*/ 1707 w 4483252"/>
              <a:gd name="connsiteY4" fmla="*/ 3528 h 578990"/>
              <a:gd name="connsiteX0" fmla="*/ 427 w 4483771"/>
              <a:gd name="connsiteY0" fmla="*/ 3528 h 578990"/>
              <a:gd name="connsiteX1" fmla="*/ 4470174 w 4483771"/>
              <a:gd name="connsiteY1" fmla="*/ 0 h 578990"/>
              <a:gd name="connsiteX2" fmla="*/ 4358804 w 4483771"/>
              <a:gd name="connsiteY2" fmla="*/ 467113 h 578990"/>
              <a:gd name="connsiteX3" fmla="*/ 519 w 4483771"/>
              <a:gd name="connsiteY3" fmla="*/ 450546 h 578990"/>
              <a:gd name="connsiteX4" fmla="*/ 427 w 4483771"/>
              <a:gd name="connsiteY4" fmla="*/ 3528 h 5789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83771" h="578990">
                <a:moveTo>
                  <a:pt x="427" y="3528"/>
                </a:moveTo>
                <a:lnTo>
                  <a:pt x="4470174" y="0"/>
                </a:lnTo>
                <a:cubicBezTo>
                  <a:pt x="4531437" y="87709"/>
                  <a:pt x="4366265" y="304133"/>
                  <a:pt x="4358804" y="467113"/>
                </a:cubicBezTo>
                <a:cubicBezTo>
                  <a:pt x="3662047" y="807946"/>
                  <a:pt x="2834604" y="241390"/>
                  <a:pt x="519" y="450546"/>
                </a:cubicBezTo>
                <a:cubicBezTo>
                  <a:pt x="2035" y="21400"/>
                  <a:pt x="-1089" y="432674"/>
                  <a:pt x="427" y="3528"/>
                </a:cubicBez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schemeClr val="tx2">
                  <a:lumMod val="50000"/>
                </a:schemeClr>
              </a:solidFill>
            </a:endParaRPr>
          </a:p>
        </p:txBody>
      </p:sp>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10242"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2400">
                <a:solidFill>
                  <a:schemeClr val="bg1"/>
                </a:solidFill>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955800"/>
            <a:ext cx="11793979" cy="4026560"/>
          </a:xfrm>
        </p:spPr>
        <p:txBody>
          <a:bodyPr/>
          <a:lstStyle>
            <a:lvl1pPr>
              <a:buClr>
                <a:schemeClr val="accent2"/>
              </a:buClr>
              <a:defRPr b="0"/>
            </a:lvl1pPr>
            <a:lvl2pPr marL="533387" indent="-205312">
              <a:buFont typeface="Arial" panose="020B0604020202020204" pitchFamily="34" charset="0"/>
              <a:buChar char="̶"/>
              <a:defRPr/>
            </a:lvl2pPr>
            <a:lvl3pPr marL="761981" indent="-186262">
              <a:defRPr/>
            </a:lvl3pPr>
            <a:lvl4pPr marL="990575" indent="-186262">
              <a:buFont typeface="Courier New" panose="02070309020205020404" pitchFamily="49" charset="0"/>
              <a:buChar char="o"/>
              <a:defRPr/>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38" y="1495448"/>
            <a:ext cx="11813715" cy="460353"/>
          </a:xfrm>
        </p:spPr>
        <p:txBody>
          <a:bodyPr/>
          <a:lstStyle>
            <a:lvl1pPr marL="0" indent="0">
              <a:buNone/>
              <a:defRPr sz="2000"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344717009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Content Master">
    <p:bg>
      <p:bgPr>
        <a:solidFill>
          <a:schemeClr val="bg1"/>
        </a:solidFill>
        <a:effectLst/>
      </p:bgPr>
    </p:bg>
    <p:spTree>
      <p:nvGrpSpPr>
        <p:cNvPr id="1" name=""/>
        <p:cNvGrpSpPr/>
        <p:nvPr/>
      </p:nvGrpSpPr>
      <p:grpSpPr>
        <a:xfrm>
          <a:off x="0" y="0"/>
          <a:ext cx="0" cy="0"/>
          <a:chOff x="0" y="0"/>
          <a:chExt cx="0" cy="0"/>
        </a:xfrm>
      </p:grpSpPr>
      <p:grpSp>
        <p:nvGrpSpPr>
          <p:cNvPr id="8" name="Group 7"/>
          <p:cNvGrpSpPr/>
          <p:nvPr userDrawn="1"/>
        </p:nvGrpSpPr>
        <p:grpSpPr>
          <a:xfrm>
            <a:off x="-16121" y="0"/>
            <a:ext cx="5818953" cy="6858000"/>
            <a:chOff x="-12091" y="-1"/>
            <a:chExt cx="4907046" cy="5783260"/>
          </a:xfrm>
        </p:grpSpPr>
        <p:sp>
          <p:nvSpPr>
            <p:cNvPr id="5" name="Rectangle 4">
              <a:extLst>
                <a:ext uri="{FF2B5EF4-FFF2-40B4-BE49-F238E27FC236}">
                  <a16:creationId xmlns:a16="http://schemas.microsoft.com/office/drawing/2014/main" id="{9455EBB8-DB3C-45D2-B02F-0B36A58E555B}"/>
                </a:ext>
              </a:extLst>
            </p:cNvPr>
            <p:cNvSpPr/>
            <p:nvPr userDrawn="1"/>
          </p:nvSpPr>
          <p:spPr>
            <a:xfrm>
              <a:off x="-1" y="0"/>
              <a:ext cx="3845326" cy="5783259"/>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44"/>
            </a:p>
          </p:txBody>
        </p:sp>
        <p:sp>
          <p:nvSpPr>
            <p:cNvPr id="7" name="Freeform 13"/>
            <p:cNvSpPr>
              <a:spLocks/>
            </p:cNvSpPr>
            <p:nvPr userDrawn="1"/>
          </p:nvSpPr>
          <p:spPr bwMode="auto">
            <a:xfrm>
              <a:off x="-12091" y="-1"/>
              <a:ext cx="4907046" cy="2458586"/>
            </a:xfrm>
            <a:custGeom>
              <a:avLst/>
              <a:gdLst>
                <a:gd name="T0" fmla="*/ 1586 w 1862"/>
                <a:gd name="T1" fmla="*/ 0 h 2254"/>
                <a:gd name="T2" fmla="*/ 1698 w 1862"/>
                <a:gd name="T3" fmla="*/ 966 h 2254"/>
                <a:gd name="T4" fmla="*/ 359 w 1862"/>
                <a:gd name="T5" fmla="*/ 2142 h 2254"/>
                <a:gd name="T6" fmla="*/ 0 w 1862"/>
                <a:gd name="T7" fmla="*/ 2025 h 2254"/>
                <a:gd name="T8" fmla="*/ 0 w 1862"/>
                <a:gd name="T9" fmla="*/ 0 h 2254"/>
                <a:gd name="T10" fmla="*/ 1586 w 1862"/>
                <a:gd name="T11" fmla="*/ 0 h 2254"/>
                <a:gd name="connsiteX0" fmla="*/ 8542 w 9422"/>
                <a:gd name="connsiteY0" fmla="*/ 28 h 9647"/>
                <a:gd name="connsiteX1" fmla="*/ 9143 w 9422"/>
                <a:gd name="connsiteY1" fmla="*/ 4314 h 9647"/>
                <a:gd name="connsiteX2" fmla="*/ 1952 w 9422"/>
                <a:gd name="connsiteY2" fmla="*/ 9531 h 9647"/>
                <a:gd name="connsiteX3" fmla="*/ 0 w 9422"/>
                <a:gd name="connsiteY3" fmla="*/ 8063 h 9647"/>
                <a:gd name="connsiteX4" fmla="*/ 24 w 9422"/>
                <a:gd name="connsiteY4" fmla="*/ 28 h 9647"/>
                <a:gd name="connsiteX5" fmla="*/ 8542 w 9422"/>
                <a:gd name="connsiteY5" fmla="*/ 28 h 9647"/>
                <a:gd name="connsiteX0" fmla="*/ 9066 w 10000"/>
                <a:gd name="connsiteY0" fmla="*/ 0 h 9971"/>
                <a:gd name="connsiteX1" fmla="*/ 9704 w 10000"/>
                <a:gd name="connsiteY1" fmla="*/ 4443 h 9971"/>
                <a:gd name="connsiteX2" fmla="*/ 2072 w 10000"/>
                <a:gd name="connsiteY2" fmla="*/ 9851 h 9971"/>
                <a:gd name="connsiteX3" fmla="*/ 0 w 10000"/>
                <a:gd name="connsiteY3" fmla="*/ 8329 h 9971"/>
                <a:gd name="connsiteX4" fmla="*/ 25 w 10000"/>
                <a:gd name="connsiteY4" fmla="*/ 0 h 9971"/>
                <a:gd name="connsiteX5" fmla="*/ 9066 w 10000"/>
                <a:gd name="connsiteY5" fmla="*/ 0 h 9971"/>
                <a:gd name="connsiteX0" fmla="*/ 9066 w 10000"/>
                <a:gd name="connsiteY0" fmla="*/ 0 h 9813"/>
                <a:gd name="connsiteX1" fmla="*/ 9704 w 10000"/>
                <a:gd name="connsiteY1" fmla="*/ 4456 h 9813"/>
                <a:gd name="connsiteX2" fmla="*/ 3628 w 10000"/>
                <a:gd name="connsiteY2" fmla="*/ 9813 h 9813"/>
                <a:gd name="connsiteX3" fmla="*/ 0 w 10000"/>
                <a:gd name="connsiteY3" fmla="*/ 8353 h 9813"/>
                <a:gd name="connsiteX4" fmla="*/ 25 w 10000"/>
                <a:gd name="connsiteY4" fmla="*/ 0 h 9813"/>
                <a:gd name="connsiteX5" fmla="*/ 9066 w 10000"/>
                <a:gd name="connsiteY5" fmla="*/ 0 h 9813"/>
                <a:gd name="connsiteX0" fmla="*/ 9066 w 10067"/>
                <a:gd name="connsiteY0" fmla="*/ 0 h 10060"/>
                <a:gd name="connsiteX1" fmla="*/ 9781 w 10067"/>
                <a:gd name="connsiteY1" fmla="*/ 6349 h 10060"/>
                <a:gd name="connsiteX2" fmla="*/ 3628 w 10067"/>
                <a:gd name="connsiteY2" fmla="*/ 10000 h 10060"/>
                <a:gd name="connsiteX3" fmla="*/ 0 w 10067"/>
                <a:gd name="connsiteY3" fmla="*/ 8512 h 10060"/>
                <a:gd name="connsiteX4" fmla="*/ 25 w 10067"/>
                <a:gd name="connsiteY4" fmla="*/ 0 h 10060"/>
                <a:gd name="connsiteX5" fmla="*/ 9066 w 10067"/>
                <a:gd name="connsiteY5" fmla="*/ 0 h 10060"/>
                <a:gd name="connsiteX0" fmla="*/ 9092 w 10071"/>
                <a:gd name="connsiteY0" fmla="*/ 0 h 10060"/>
                <a:gd name="connsiteX1" fmla="*/ 9781 w 10071"/>
                <a:gd name="connsiteY1" fmla="*/ 6349 h 10060"/>
                <a:gd name="connsiteX2" fmla="*/ 3628 w 10071"/>
                <a:gd name="connsiteY2" fmla="*/ 10000 h 10060"/>
                <a:gd name="connsiteX3" fmla="*/ 0 w 10071"/>
                <a:gd name="connsiteY3" fmla="*/ 8512 h 10060"/>
                <a:gd name="connsiteX4" fmla="*/ 25 w 10071"/>
                <a:gd name="connsiteY4" fmla="*/ 0 h 10060"/>
                <a:gd name="connsiteX5" fmla="*/ 9092 w 10071"/>
                <a:gd name="connsiteY5" fmla="*/ 0 h 10060"/>
                <a:gd name="connsiteX0" fmla="*/ 9092 w 10337"/>
                <a:gd name="connsiteY0" fmla="*/ 0 h 10060"/>
                <a:gd name="connsiteX1" fmla="*/ 9781 w 10337"/>
                <a:gd name="connsiteY1" fmla="*/ 6349 h 10060"/>
                <a:gd name="connsiteX2" fmla="*/ 3628 w 10337"/>
                <a:gd name="connsiteY2" fmla="*/ 10000 h 10060"/>
                <a:gd name="connsiteX3" fmla="*/ 0 w 10337"/>
                <a:gd name="connsiteY3" fmla="*/ 8512 h 10060"/>
                <a:gd name="connsiteX4" fmla="*/ 25 w 10337"/>
                <a:gd name="connsiteY4" fmla="*/ 0 h 10060"/>
                <a:gd name="connsiteX5" fmla="*/ 9092 w 10337"/>
                <a:gd name="connsiteY5" fmla="*/ 0 h 10060"/>
                <a:gd name="connsiteX0" fmla="*/ 9092 w 10337"/>
                <a:gd name="connsiteY0" fmla="*/ 0 h 10060"/>
                <a:gd name="connsiteX1" fmla="*/ 9781 w 10337"/>
                <a:gd name="connsiteY1" fmla="*/ 6349 h 10060"/>
                <a:gd name="connsiteX2" fmla="*/ 3628 w 10337"/>
                <a:gd name="connsiteY2" fmla="*/ 10000 h 10060"/>
                <a:gd name="connsiteX3" fmla="*/ 0 w 10337"/>
                <a:gd name="connsiteY3" fmla="*/ 8512 h 10060"/>
                <a:gd name="connsiteX4" fmla="*/ 25 w 10337"/>
                <a:gd name="connsiteY4" fmla="*/ 0 h 10060"/>
                <a:gd name="connsiteX5" fmla="*/ 9092 w 10337"/>
                <a:gd name="connsiteY5" fmla="*/ 0 h 10060"/>
                <a:gd name="connsiteX0" fmla="*/ 9092 w 10337"/>
                <a:gd name="connsiteY0" fmla="*/ 0 h 10060"/>
                <a:gd name="connsiteX1" fmla="*/ 9781 w 10337"/>
                <a:gd name="connsiteY1" fmla="*/ 6349 h 10060"/>
                <a:gd name="connsiteX2" fmla="*/ 3628 w 10337"/>
                <a:gd name="connsiteY2" fmla="*/ 10000 h 10060"/>
                <a:gd name="connsiteX3" fmla="*/ 0 w 10337"/>
                <a:gd name="connsiteY3" fmla="*/ 8512 h 10060"/>
                <a:gd name="connsiteX4" fmla="*/ 25 w 10337"/>
                <a:gd name="connsiteY4" fmla="*/ 0 h 10060"/>
                <a:gd name="connsiteX5" fmla="*/ 9092 w 10337"/>
                <a:gd name="connsiteY5" fmla="*/ 0 h 10060"/>
                <a:gd name="connsiteX0" fmla="*/ 9092 w 10337"/>
                <a:gd name="connsiteY0" fmla="*/ 0 h 10060"/>
                <a:gd name="connsiteX1" fmla="*/ 9781 w 10337"/>
                <a:gd name="connsiteY1" fmla="*/ 6349 h 10060"/>
                <a:gd name="connsiteX2" fmla="*/ 3628 w 10337"/>
                <a:gd name="connsiteY2" fmla="*/ 10000 h 10060"/>
                <a:gd name="connsiteX3" fmla="*/ 0 w 10337"/>
                <a:gd name="connsiteY3" fmla="*/ 8512 h 10060"/>
                <a:gd name="connsiteX4" fmla="*/ 25 w 10337"/>
                <a:gd name="connsiteY4" fmla="*/ 0 h 10060"/>
                <a:gd name="connsiteX5" fmla="*/ 9092 w 10337"/>
                <a:gd name="connsiteY5" fmla="*/ 0 h 10060"/>
                <a:gd name="connsiteX0" fmla="*/ 9092 w 10337"/>
                <a:gd name="connsiteY0" fmla="*/ 0 h 10060"/>
                <a:gd name="connsiteX1" fmla="*/ 9781 w 10337"/>
                <a:gd name="connsiteY1" fmla="*/ 6349 h 10060"/>
                <a:gd name="connsiteX2" fmla="*/ 3628 w 10337"/>
                <a:gd name="connsiteY2" fmla="*/ 10000 h 10060"/>
                <a:gd name="connsiteX3" fmla="*/ 0 w 10337"/>
                <a:gd name="connsiteY3" fmla="*/ 8512 h 10060"/>
                <a:gd name="connsiteX4" fmla="*/ 25 w 10337"/>
                <a:gd name="connsiteY4" fmla="*/ 0 h 10060"/>
                <a:gd name="connsiteX5" fmla="*/ 9092 w 10337"/>
                <a:gd name="connsiteY5" fmla="*/ 0 h 10060"/>
                <a:gd name="connsiteX0" fmla="*/ 9092 w 10337"/>
                <a:gd name="connsiteY0" fmla="*/ 0 h 10054"/>
                <a:gd name="connsiteX1" fmla="*/ 9781 w 10337"/>
                <a:gd name="connsiteY1" fmla="*/ 6349 h 10054"/>
                <a:gd name="connsiteX2" fmla="*/ 3628 w 10337"/>
                <a:gd name="connsiteY2" fmla="*/ 10000 h 10054"/>
                <a:gd name="connsiteX3" fmla="*/ 0 w 10337"/>
                <a:gd name="connsiteY3" fmla="*/ 8512 h 10054"/>
                <a:gd name="connsiteX4" fmla="*/ 25 w 10337"/>
                <a:gd name="connsiteY4" fmla="*/ 0 h 10054"/>
                <a:gd name="connsiteX5" fmla="*/ 9092 w 10337"/>
                <a:gd name="connsiteY5" fmla="*/ 0 h 10054"/>
                <a:gd name="connsiteX0" fmla="*/ 9092 w 10337"/>
                <a:gd name="connsiteY0" fmla="*/ 0 h 10104"/>
                <a:gd name="connsiteX1" fmla="*/ 9781 w 10337"/>
                <a:gd name="connsiteY1" fmla="*/ 6349 h 10104"/>
                <a:gd name="connsiteX2" fmla="*/ 3628 w 10337"/>
                <a:gd name="connsiteY2" fmla="*/ 10000 h 10104"/>
                <a:gd name="connsiteX3" fmla="*/ 0 w 10337"/>
                <a:gd name="connsiteY3" fmla="*/ 8512 h 10104"/>
                <a:gd name="connsiteX4" fmla="*/ 25 w 10337"/>
                <a:gd name="connsiteY4" fmla="*/ 0 h 10104"/>
                <a:gd name="connsiteX5" fmla="*/ 9092 w 10337"/>
                <a:gd name="connsiteY5" fmla="*/ 0 h 10104"/>
                <a:gd name="connsiteX0" fmla="*/ 9092 w 10337"/>
                <a:gd name="connsiteY0" fmla="*/ 0 h 10268"/>
                <a:gd name="connsiteX1" fmla="*/ 9781 w 10337"/>
                <a:gd name="connsiteY1" fmla="*/ 6349 h 10268"/>
                <a:gd name="connsiteX2" fmla="*/ 3475 w 10337"/>
                <a:gd name="connsiteY2" fmla="*/ 10181 h 10268"/>
                <a:gd name="connsiteX3" fmla="*/ 0 w 10337"/>
                <a:gd name="connsiteY3" fmla="*/ 8512 h 10268"/>
                <a:gd name="connsiteX4" fmla="*/ 25 w 10337"/>
                <a:gd name="connsiteY4" fmla="*/ 0 h 10268"/>
                <a:gd name="connsiteX5" fmla="*/ 9092 w 10337"/>
                <a:gd name="connsiteY5" fmla="*/ 0 h 10268"/>
                <a:gd name="connsiteX0" fmla="*/ 9092 w 10337"/>
                <a:gd name="connsiteY0" fmla="*/ 0 h 10260"/>
                <a:gd name="connsiteX1" fmla="*/ 9781 w 10337"/>
                <a:gd name="connsiteY1" fmla="*/ 6349 h 10260"/>
                <a:gd name="connsiteX2" fmla="*/ 3475 w 10337"/>
                <a:gd name="connsiteY2" fmla="*/ 10181 h 10260"/>
                <a:gd name="connsiteX3" fmla="*/ 0 w 10337"/>
                <a:gd name="connsiteY3" fmla="*/ 8512 h 10260"/>
                <a:gd name="connsiteX4" fmla="*/ 25 w 10337"/>
                <a:gd name="connsiteY4" fmla="*/ 0 h 10260"/>
                <a:gd name="connsiteX5" fmla="*/ 9092 w 10337"/>
                <a:gd name="connsiteY5" fmla="*/ 0 h 10260"/>
                <a:gd name="connsiteX0" fmla="*/ 9092 w 10337"/>
                <a:gd name="connsiteY0" fmla="*/ 0 h 10247"/>
                <a:gd name="connsiteX1" fmla="*/ 9781 w 10337"/>
                <a:gd name="connsiteY1" fmla="*/ 6349 h 10247"/>
                <a:gd name="connsiteX2" fmla="*/ 3475 w 10337"/>
                <a:gd name="connsiteY2" fmla="*/ 10181 h 10247"/>
                <a:gd name="connsiteX3" fmla="*/ 0 w 10337"/>
                <a:gd name="connsiteY3" fmla="*/ 8512 h 10247"/>
                <a:gd name="connsiteX4" fmla="*/ 25 w 10337"/>
                <a:gd name="connsiteY4" fmla="*/ 0 h 10247"/>
                <a:gd name="connsiteX5" fmla="*/ 9092 w 10337"/>
                <a:gd name="connsiteY5" fmla="*/ 0 h 10247"/>
                <a:gd name="connsiteX0" fmla="*/ 9092 w 10337"/>
                <a:gd name="connsiteY0" fmla="*/ 0 h 10284"/>
                <a:gd name="connsiteX1" fmla="*/ 9781 w 10337"/>
                <a:gd name="connsiteY1" fmla="*/ 6349 h 10284"/>
                <a:gd name="connsiteX2" fmla="*/ 3475 w 10337"/>
                <a:gd name="connsiteY2" fmla="*/ 10181 h 10284"/>
                <a:gd name="connsiteX3" fmla="*/ 0 w 10337"/>
                <a:gd name="connsiteY3" fmla="*/ 8512 h 10284"/>
                <a:gd name="connsiteX4" fmla="*/ 25 w 10337"/>
                <a:gd name="connsiteY4" fmla="*/ 0 h 10284"/>
                <a:gd name="connsiteX5" fmla="*/ 9092 w 10337"/>
                <a:gd name="connsiteY5" fmla="*/ 0 h 10284"/>
                <a:gd name="connsiteX0" fmla="*/ 9092 w 10337"/>
                <a:gd name="connsiteY0" fmla="*/ 0 h 10323"/>
                <a:gd name="connsiteX1" fmla="*/ 9781 w 10337"/>
                <a:gd name="connsiteY1" fmla="*/ 6349 h 10323"/>
                <a:gd name="connsiteX2" fmla="*/ 3475 w 10337"/>
                <a:gd name="connsiteY2" fmla="*/ 10181 h 10323"/>
                <a:gd name="connsiteX3" fmla="*/ 0 w 10337"/>
                <a:gd name="connsiteY3" fmla="*/ 8512 h 10323"/>
                <a:gd name="connsiteX4" fmla="*/ 25 w 10337"/>
                <a:gd name="connsiteY4" fmla="*/ 0 h 10323"/>
                <a:gd name="connsiteX5" fmla="*/ 9092 w 10337"/>
                <a:gd name="connsiteY5" fmla="*/ 0 h 10323"/>
                <a:gd name="connsiteX0" fmla="*/ 9092 w 10337"/>
                <a:gd name="connsiteY0" fmla="*/ 0 h 10351"/>
                <a:gd name="connsiteX1" fmla="*/ 9781 w 10337"/>
                <a:gd name="connsiteY1" fmla="*/ 6349 h 10351"/>
                <a:gd name="connsiteX2" fmla="*/ 3475 w 10337"/>
                <a:gd name="connsiteY2" fmla="*/ 10181 h 10351"/>
                <a:gd name="connsiteX3" fmla="*/ 0 w 10337"/>
                <a:gd name="connsiteY3" fmla="*/ 8512 h 10351"/>
                <a:gd name="connsiteX4" fmla="*/ 25 w 10337"/>
                <a:gd name="connsiteY4" fmla="*/ 0 h 10351"/>
                <a:gd name="connsiteX5" fmla="*/ 9092 w 10337"/>
                <a:gd name="connsiteY5" fmla="*/ 0 h 10351"/>
                <a:gd name="connsiteX0" fmla="*/ 9092 w 10337"/>
                <a:gd name="connsiteY0" fmla="*/ 0 h 10305"/>
                <a:gd name="connsiteX1" fmla="*/ 9781 w 10337"/>
                <a:gd name="connsiteY1" fmla="*/ 6349 h 10305"/>
                <a:gd name="connsiteX2" fmla="*/ 3475 w 10337"/>
                <a:gd name="connsiteY2" fmla="*/ 10181 h 10305"/>
                <a:gd name="connsiteX3" fmla="*/ 0 w 10337"/>
                <a:gd name="connsiteY3" fmla="*/ 8512 h 10305"/>
                <a:gd name="connsiteX4" fmla="*/ 25 w 10337"/>
                <a:gd name="connsiteY4" fmla="*/ 0 h 10305"/>
                <a:gd name="connsiteX5" fmla="*/ 9092 w 10337"/>
                <a:gd name="connsiteY5" fmla="*/ 0 h 10305"/>
                <a:gd name="connsiteX0" fmla="*/ 9092 w 10337"/>
                <a:gd name="connsiteY0" fmla="*/ 0 h 10300"/>
                <a:gd name="connsiteX1" fmla="*/ 9781 w 10337"/>
                <a:gd name="connsiteY1" fmla="*/ 6349 h 10300"/>
                <a:gd name="connsiteX2" fmla="*/ 3475 w 10337"/>
                <a:gd name="connsiteY2" fmla="*/ 10181 h 10300"/>
                <a:gd name="connsiteX3" fmla="*/ 0 w 10337"/>
                <a:gd name="connsiteY3" fmla="*/ 8512 h 10300"/>
                <a:gd name="connsiteX4" fmla="*/ 25 w 10337"/>
                <a:gd name="connsiteY4" fmla="*/ 0 h 10300"/>
                <a:gd name="connsiteX5" fmla="*/ 9092 w 10337"/>
                <a:gd name="connsiteY5" fmla="*/ 0 h 1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37" h="10300">
                  <a:moveTo>
                    <a:pt x="9092" y="0"/>
                  </a:moveTo>
                  <a:cubicBezTo>
                    <a:pt x="9092" y="0"/>
                    <a:pt x="11354" y="3877"/>
                    <a:pt x="9781" y="6349"/>
                  </a:cubicBezTo>
                  <a:cubicBezTo>
                    <a:pt x="8153" y="5258"/>
                    <a:pt x="5566" y="9748"/>
                    <a:pt x="3475" y="10181"/>
                  </a:cubicBezTo>
                  <a:cubicBezTo>
                    <a:pt x="1713" y="10546"/>
                    <a:pt x="967" y="10094"/>
                    <a:pt x="0" y="8512"/>
                  </a:cubicBezTo>
                  <a:cubicBezTo>
                    <a:pt x="13" y="2254"/>
                    <a:pt x="25" y="0"/>
                    <a:pt x="25" y="0"/>
                  </a:cubicBezTo>
                  <a:lnTo>
                    <a:pt x="9092"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sz="2844" dirty="0"/>
            </a:p>
          </p:txBody>
        </p:sp>
      </p:grpSp>
      <p:sp>
        <p:nvSpPr>
          <p:cNvPr id="6"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426716" y="3089436"/>
            <a:ext cx="3670827" cy="3589368"/>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11266"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a:xfrm>
            <a:off x="2" y="1"/>
            <a:ext cx="5318927" cy="1062180"/>
          </a:xfrm>
        </p:spPr>
        <p:txBody>
          <a:bodyPr tIns="274320" anchor="t"/>
          <a:lstStyle>
            <a:lvl1pPr>
              <a:defRPr sz="2400">
                <a:solidFill>
                  <a:schemeClr val="bg1"/>
                </a:solidFill>
              </a:defRPr>
            </a:lvl1pPr>
          </a:lstStyle>
          <a:p>
            <a:r>
              <a:rPr lang="en-US" noProof="0" dirty="0"/>
              <a:t>Click to edit Master title style</a:t>
            </a:r>
            <a:endParaRPr lang="en-US" dirty="0"/>
          </a:p>
        </p:txBody>
      </p:sp>
      <p:pic>
        <p:nvPicPr>
          <p:cNvPr id="9"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7">
            <a:extLst>
              <a:ext uri="{96DAC541-7B7A-43D3-8B79-37D633B846F1}">
                <asvg:svgBlip xmlns:asvg="http://schemas.microsoft.com/office/drawing/2016/SVG/main" r:embed="rId8"/>
              </a:ext>
            </a:extLst>
          </a:blip>
          <a:srcRect l="81836" t="-4713" b="16530"/>
          <a:stretch/>
        </p:blipFill>
        <p:spPr>
          <a:xfrm>
            <a:off x="11333051" y="251520"/>
            <a:ext cx="565808" cy="612832"/>
          </a:xfrm>
          <a:prstGeom prst="rect">
            <a:avLst/>
          </a:prstGeom>
        </p:spPr>
      </p:pic>
    </p:spTree>
    <p:extLst>
      <p:ext uri="{BB962C8B-B14F-4D97-AF65-F5344CB8AC3E}">
        <p14:creationId xmlns:p14="http://schemas.microsoft.com/office/powerpoint/2010/main" val="122080709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blank" preserve="1">
  <p:cSld name="Vide">
    <p:bg>
      <p:bgPr>
        <a:solidFill>
          <a:srgbClr val="EDEDED"/>
        </a:solidFill>
        <a:effectLst/>
      </p:bgPr>
    </p:bg>
    <p:spTree>
      <p:nvGrpSpPr>
        <p:cNvPr id="1" name=""/>
        <p:cNvGrpSpPr/>
        <p:nvPr/>
      </p:nvGrpSpPr>
      <p:grpSpPr>
        <a:xfrm>
          <a:off x="0" y="0"/>
          <a:ext cx="0" cy="0"/>
          <a:chOff x="0" y="0"/>
          <a:chExt cx="0" cy="0"/>
        </a:xfrm>
      </p:grpSpPr>
      <p:sp>
        <p:nvSpPr>
          <p:cNvPr id="23" name="Rectangle 22"/>
          <p:cNvSpPr/>
          <p:nvPr userDrawn="1"/>
        </p:nvSpPr>
        <p:spPr>
          <a:xfrm>
            <a:off x="1" y="0"/>
            <a:ext cx="175678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schemeClr val="tx2">
                  <a:lumMod val="50000"/>
                </a:schemeClr>
              </a:solidFill>
            </a:endParaRPr>
          </a:p>
        </p:txBody>
      </p:sp>
      <p:graphicFrame>
        <p:nvGraphicFramePr>
          <p:cNvPr id="2" name="Object 1"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12290"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p:cNvSpPr/>
          <p:nvPr userDrawn="1"/>
        </p:nvSpPr>
        <p:spPr>
          <a:xfrm>
            <a:off x="6657879" y="2524335"/>
            <a:ext cx="5213580" cy="19532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r>
              <a:rPr lang="en-US" sz="120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A global leader in consulting, technology services and digital transformation, Capgemini is at the forefront of innovation to address the entire breadth of NG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7 global revenues of EUR 12.8 billion (about $14.4 billion USD at 2017 average rate).</a:t>
            </a:r>
          </a:p>
        </p:txBody>
      </p:sp>
      <p:sp>
        <p:nvSpPr>
          <p:cNvPr id="9" name="Rectangle 8"/>
          <p:cNvSpPr/>
          <p:nvPr userDrawn="1"/>
        </p:nvSpPr>
        <p:spPr>
          <a:xfrm>
            <a:off x="6657879" y="2018364"/>
            <a:ext cx="2905099" cy="2349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600" b="1" dirty="0">
                <a:solidFill>
                  <a:schemeClr val="tx2"/>
                </a:solidFill>
                <a:latin typeface="Verdana" panose="020B0604030504040204" pitchFamily="34" charset="0"/>
                <a:ea typeface="Verdana" panose="020B0604030504040204" pitchFamily="34" charset="0"/>
                <a:cs typeface="Verdana" panose="020B0604030504040204" pitchFamily="34" charset="0"/>
              </a:rPr>
              <a:t>About Capgemini</a:t>
            </a:r>
          </a:p>
        </p:txBody>
      </p:sp>
      <p:sp>
        <p:nvSpPr>
          <p:cNvPr id="10" name="Rectangle 9"/>
          <p:cNvSpPr/>
          <p:nvPr userDrawn="1"/>
        </p:nvSpPr>
        <p:spPr>
          <a:xfrm>
            <a:off x="6657880" y="4973899"/>
            <a:ext cx="3468945" cy="5433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rPr>
              <a:t>Learn more about us at</a:t>
            </a:r>
          </a:p>
          <a:p>
            <a:pPr algn="just">
              <a:lnSpc>
                <a:spcPts val="1200"/>
              </a:lnSpc>
            </a:pPr>
            <a:r>
              <a:rPr lang="en-US" sz="1867" dirty="0">
                <a:solidFill>
                  <a:schemeClr val="accent2"/>
                </a:solidFill>
                <a:latin typeface="Verdana" panose="020B0604030504040204" pitchFamily="34" charset="0"/>
                <a:ea typeface="Verdana" panose="020B0604030504040204" pitchFamily="34" charset="0"/>
                <a:cs typeface="Verdana" panose="020B0604030504040204" pitchFamily="34" charset="0"/>
              </a:rPr>
              <a:t>www.capgemini.com</a:t>
            </a:r>
          </a:p>
        </p:txBody>
      </p:sp>
      <p:sp>
        <p:nvSpPr>
          <p:cNvPr id="17" name="Rectangle 16"/>
          <p:cNvSpPr/>
          <p:nvPr userDrawn="1"/>
        </p:nvSpPr>
        <p:spPr>
          <a:xfrm>
            <a:off x="6657879" y="6042841"/>
            <a:ext cx="5213580" cy="574260"/>
          </a:xfrm>
          <a:prstGeom prst="rect">
            <a:avLst/>
          </a:prstGeom>
        </p:spPr>
        <p:txBody>
          <a:bodyPr wrap="square" lIns="0" tIns="0" rIns="0" bIns="0" anchor="b" anchorCtr="0">
            <a:spAutoFit/>
          </a:bodyPr>
          <a:lstStyle/>
          <a:p>
            <a:pPr>
              <a:spcAft>
                <a:spcPts val="600"/>
              </a:spcAft>
            </a:pPr>
            <a:r>
              <a:rPr lang="en-US" sz="900" dirty="0">
                <a:latin typeface="Verdana" panose="020B0604030504040204" pitchFamily="34" charset="0"/>
                <a:ea typeface="Verdana" panose="020B0604030504040204" pitchFamily="34" charset="0"/>
                <a:cs typeface="Verdana" panose="020B0604030504040204" pitchFamily="34" charset="0"/>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19" name="Rectangle 18">
            <a:hlinkClick r:id="rId6"/>
          </p:cNvPr>
          <p:cNvSpPr/>
          <p:nvPr userDrawn="1"/>
        </p:nvSpPr>
        <p:spPr>
          <a:xfrm>
            <a:off x="11956319" y="5079045"/>
            <a:ext cx="922387" cy="166328"/>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GB" sz="2400" dirty="0"/>
          </a:p>
        </p:txBody>
      </p:sp>
      <p:sp>
        <p:nvSpPr>
          <p:cNvPr id="4" name="Freeform 5"/>
          <p:cNvSpPr>
            <a:spLocks/>
          </p:cNvSpPr>
          <p:nvPr userDrawn="1"/>
        </p:nvSpPr>
        <p:spPr bwMode="auto">
          <a:xfrm>
            <a:off x="1468502" y="-14553"/>
            <a:ext cx="4422889" cy="6872553"/>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 name="connsiteX0" fmla="*/ 2507 w 10000"/>
              <a:gd name="connsiteY0" fmla="*/ 0 h 10000"/>
              <a:gd name="connsiteX1" fmla="*/ 0 w 10000"/>
              <a:gd name="connsiteY1" fmla="*/ 0 h 10000"/>
              <a:gd name="connsiteX2" fmla="*/ 0 w 10000"/>
              <a:gd name="connsiteY2" fmla="*/ 10000 h 10000"/>
              <a:gd name="connsiteX3" fmla="*/ 10000 w 10000"/>
              <a:gd name="connsiteY3" fmla="*/ 10000 h 10000"/>
              <a:gd name="connsiteX4" fmla="*/ 525 w 10000"/>
              <a:gd name="connsiteY4" fmla="*/ 9989 h 10000"/>
              <a:gd name="connsiteX5" fmla="*/ 6152 w 10000"/>
              <a:gd name="connsiteY5" fmla="*/ 4435 h 10000"/>
              <a:gd name="connsiteX6" fmla="*/ 2507 w 10000"/>
              <a:gd name="connsiteY6" fmla="*/ 0 h 10000"/>
              <a:gd name="connsiteX0" fmla="*/ 2507 w 6673"/>
              <a:gd name="connsiteY0" fmla="*/ 0 h 10000"/>
              <a:gd name="connsiteX1" fmla="*/ 0 w 6673"/>
              <a:gd name="connsiteY1" fmla="*/ 0 h 10000"/>
              <a:gd name="connsiteX2" fmla="*/ 0 w 6673"/>
              <a:gd name="connsiteY2" fmla="*/ 10000 h 10000"/>
              <a:gd name="connsiteX3" fmla="*/ 525 w 6673"/>
              <a:gd name="connsiteY3" fmla="*/ 9989 h 10000"/>
              <a:gd name="connsiteX4" fmla="*/ 6152 w 6673"/>
              <a:gd name="connsiteY4" fmla="*/ 4435 h 10000"/>
              <a:gd name="connsiteX5" fmla="*/ 2507 w 6673"/>
              <a:gd name="connsiteY5" fmla="*/ 0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18 w 10000"/>
              <a:gd name="connsiteY5" fmla="*/ 2310 h 10000"/>
              <a:gd name="connsiteX0" fmla="*/ 0 w 10000"/>
              <a:gd name="connsiteY0" fmla="*/ 0 h 10000"/>
              <a:gd name="connsiteX1" fmla="*/ 0 w 10000"/>
              <a:gd name="connsiteY1" fmla="*/ 10000 h 10000"/>
              <a:gd name="connsiteX2" fmla="*/ 787 w 10000"/>
              <a:gd name="connsiteY2" fmla="*/ 9989 h 10000"/>
              <a:gd name="connsiteX3" fmla="*/ 9219 w 10000"/>
              <a:gd name="connsiteY3" fmla="*/ 4435 h 10000"/>
              <a:gd name="connsiteX4" fmla="*/ 4418 w 10000"/>
              <a:gd name="connsiteY4" fmla="*/ 2310 h 10000"/>
              <a:gd name="connsiteX0" fmla="*/ 1064 w 10002"/>
              <a:gd name="connsiteY0" fmla="*/ 0 h 8342"/>
              <a:gd name="connsiteX1" fmla="*/ 2 w 10002"/>
              <a:gd name="connsiteY1" fmla="*/ 7770 h 8342"/>
              <a:gd name="connsiteX2" fmla="*/ 789 w 10002"/>
              <a:gd name="connsiteY2" fmla="*/ 7759 h 8342"/>
              <a:gd name="connsiteX3" fmla="*/ 9221 w 10002"/>
              <a:gd name="connsiteY3" fmla="*/ 2205 h 8342"/>
              <a:gd name="connsiteX4" fmla="*/ 4420 w 10002"/>
              <a:gd name="connsiteY4" fmla="*/ 80 h 8342"/>
              <a:gd name="connsiteX0" fmla="*/ 1919 w 10028"/>
              <a:gd name="connsiteY0" fmla="*/ 386 h 9869"/>
              <a:gd name="connsiteX1" fmla="*/ 30 w 10028"/>
              <a:gd name="connsiteY1" fmla="*/ 9218 h 9869"/>
              <a:gd name="connsiteX2" fmla="*/ 817 w 10028"/>
              <a:gd name="connsiteY2" fmla="*/ 9205 h 9869"/>
              <a:gd name="connsiteX3" fmla="*/ 9247 w 10028"/>
              <a:gd name="connsiteY3" fmla="*/ 2547 h 9869"/>
              <a:gd name="connsiteX4" fmla="*/ 4447 w 10028"/>
              <a:gd name="connsiteY4" fmla="*/ 0 h 9869"/>
              <a:gd name="connsiteX0" fmla="*/ 1733 w 9993"/>
              <a:gd name="connsiteY0" fmla="*/ 52 h 10024"/>
              <a:gd name="connsiteX1" fmla="*/ 23 w 9993"/>
              <a:gd name="connsiteY1" fmla="*/ 9340 h 10024"/>
              <a:gd name="connsiteX2" fmla="*/ 808 w 9993"/>
              <a:gd name="connsiteY2" fmla="*/ 9327 h 10024"/>
              <a:gd name="connsiteX3" fmla="*/ 9214 w 9993"/>
              <a:gd name="connsiteY3" fmla="*/ 2581 h 10024"/>
              <a:gd name="connsiteX4" fmla="*/ 4428 w 9993"/>
              <a:gd name="connsiteY4" fmla="*/ 0 h 10024"/>
              <a:gd name="connsiteX0" fmla="*/ 1707 w 9999"/>
              <a:gd name="connsiteY0" fmla="*/ 0 h 10005"/>
              <a:gd name="connsiteX1" fmla="*/ 22 w 9999"/>
              <a:gd name="connsiteY1" fmla="*/ 9318 h 10005"/>
              <a:gd name="connsiteX2" fmla="*/ 808 w 9999"/>
              <a:gd name="connsiteY2" fmla="*/ 9305 h 10005"/>
              <a:gd name="connsiteX3" fmla="*/ 9219 w 9999"/>
              <a:gd name="connsiteY3" fmla="*/ 2575 h 10005"/>
              <a:gd name="connsiteX4" fmla="*/ 4430 w 9999"/>
              <a:gd name="connsiteY4" fmla="*/ 0 h 10005"/>
              <a:gd name="connsiteX0" fmla="*/ 1733 w 9999"/>
              <a:gd name="connsiteY0" fmla="*/ 6 h 9999"/>
              <a:gd name="connsiteX1" fmla="*/ 22 w 9999"/>
              <a:gd name="connsiteY1" fmla="*/ 9313 h 9999"/>
              <a:gd name="connsiteX2" fmla="*/ 808 w 9999"/>
              <a:gd name="connsiteY2" fmla="*/ 9300 h 9999"/>
              <a:gd name="connsiteX3" fmla="*/ 9220 w 9999"/>
              <a:gd name="connsiteY3" fmla="*/ 2574 h 9999"/>
              <a:gd name="connsiteX4" fmla="*/ 4430 w 9999"/>
              <a:gd name="connsiteY4" fmla="*/ 0 h 9999"/>
              <a:gd name="connsiteX0" fmla="*/ 1936 w 10008"/>
              <a:gd name="connsiteY0" fmla="*/ 189 h 9986"/>
              <a:gd name="connsiteX1" fmla="*/ 30 w 10008"/>
              <a:gd name="connsiteY1" fmla="*/ 9314 h 9986"/>
              <a:gd name="connsiteX2" fmla="*/ 816 w 10008"/>
              <a:gd name="connsiteY2" fmla="*/ 9301 h 9986"/>
              <a:gd name="connsiteX3" fmla="*/ 9229 w 10008"/>
              <a:gd name="connsiteY3" fmla="*/ 2574 h 9986"/>
              <a:gd name="connsiteX4" fmla="*/ 4438 w 10008"/>
              <a:gd name="connsiteY4" fmla="*/ 0 h 9986"/>
              <a:gd name="connsiteX0" fmla="*/ 1737 w 9993"/>
              <a:gd name="connsiteY0" fmla="*/ 16 h 10013"/>
              <a:gd name="connsiteX1" fmla="*/ 23 w 9993"/>
              <a:gd name="connsiteY1" fmla="*/ 9327 h 10013"/>
              <a:gd name="connsiteX2" fmla="*/ 808 w 9993"/>
              <a:gd name="connsiteY2" fmla="*/ 9314 h 10013"/>
              <a:gd name="connsiteX3" fmla="*/ 9215 w 9993"/>
              <a:gd name="connsiteY3" fmla="*/ 2578 h 10013"/>
              <a:gd name="connsiteX4" fmla="*/ 4427 w 9993"/>
              <a:gd name="connsiteY4" fmla="*/ 0 h 10013"/>
              <a:gd name="connsiteX0" fmla="*/ 1696 w 9341"/>
              <a:gd name="connsiteY0" fmla="*/ 16 h 9780"/>
              <a:gd name="connsiteX1" fmla="*/ 493 w 9341"/>
              <a:gd name="connsiteY1" fmla="*/ 8210 h 9780"/>
              <a:gd name="connsiteX2" fmla="*/ 767 w 9341"/>
              <a:gd name="connsiteY2" fmla="*/ 9302 h 9780"/>
              <a:gd name="connsiteX3" fmla="*/ 9179 w 9341"/>
              <a:gd name="connsiteY3" fmla="*/ 2575 h 9780"/>
              <a:gd name="connsiteX4" fmla="*/ 4388 w 9341"/>
              <a:gd name="connsiteY4" fmla="*/ 0 h 9780"/>
              <a:gd name="connsiteX0" fmla="*/ 1719 w 9903"/>
              <a:gd name="connsiteY0" fmla="*/ 16 h 9917"/>
              <a:gd name="connsiteX1" fmla="*/ 676 w 9903"/>
              <a:gd name="connsiteY1" fmla="*/ 8136 h 9917"/>
              <a:gd name="connsiteX2" fmla="*/ 724 w 9903"/>
              <a:gd name="connsiteY2" fmla="*/ 9511 h 9917"/>
              <a:gd name="connsiteX3" fmla="*/ 9730 w 9903"/>
              <a:gd name="connsiteY3" fmla="*/ 2633 h 9917"/>
              <a:gd name="connsiteX4" fmla="*/ 4601 w 9903"/>
              <a:gd name="connsiteY4" fmla="*/ 0 h 9917"/>
              <a:gd name="connsiteX0" fmla="*/ 1651 w 9914"/>
              <a:gd name="connsiteY0" fmla="*/ 16 h 9811"/>
              <a:gd name="connsiteX1" fmla="*/ 843 w 9914"/>
              <a:gd name="connsiteY1" fmla="*/ 7346 h 9811"/>
              <a:gd name="connsiteX2" fmla="*/ 646 w 9914"/>
              <a:gd name="connsiteY2" fmla="*/ 9591 h 9811"/>
              <a:gd name="connsiteX3" fmla="*/ 9740 w 9914"/>
              <a:gd name="connsiteY3" fmla="*/ 2655 h 9811"/>
              <a:gd name="connsiteX4" fmla="*/ 4561 w 9914"/>
              <a:gd name="connsiteY4" fmla="*/ 0 h 9811"/>
              <a:gd name="connsiteX0" fmla="*/ 1577 w 9910"/>
              <a:gd name="connsiteY0" fmla="*/ 16 h 10001"/>
              <a:gd name="connsiteX1" fmla="*/ 1061 w 9910"/>
              <a:gd name="connsiteY1" fmla="*/ 7495 h 10001"/>
              <a:gd name="connsiteX2" fmla="*/ 564 w 9910"/>
              <a:gd name="connsiteY2" fmla="*/ 9776 h 10001"/>
              <a:gd name="connsiteX3" fmla="*/ 9736 w 9910"/>
              <a:gd name="connsiteY3" fmla="*/ 2706 h 10001"/>
              <a:gd name="connsiteX4" fmla="*/ 4513 w 9910"/>
              <a:gd name="connsiteY4" fmla="*/ 0 h 10001"/>
              <a:gd name="connsiteX0" fmla="*/ 1499 w 9907"/>
              <a:gd name="connsiteY0" fmla="*/ 16 h 9999"/>
              <a:gd name="connsiteX1" fmla="*/ 1351 w 9907"/>
              <a:gd name="connsiteY1" fmla="*/ 7490 h 9999"/>
              <a:gd name="connsiteX2" fmla="*/ 477 w 9907"/>
              <a:gd name="connsiteY2" fmla="*/ 9775 h 9999"/>
              <a:gd name="connsiteX3" fmla="*/ 9732 w 9907"/>
              <a:gd name="connsiteY3" fmla="*/ 2706 h 9999"/>
              <a:gd name="connsiteX4" fmla="*/ 4462 w 9907"/>
              <a:gd name="connsiteY4" fmla="*/ 0 h 9999"/>
              <a:gd name="connsiteX0" fmla="*/ 1457 w 9943"/>
              <a:gd name="connsiteY0" fmla="*/ 16 h 10001"/>
              <a:gd name="connsiteX1" fmla="*/ 1578 w 9943"/>
              <a:gd name="connsiteY1" fmla="*/ 7497 h 10001"/>
              <a:gd name="connsiteX2" fmla="*/ 425 w 9943"/>
              <a:gd name="connsiteY2" fmla="*/ 9776 h 10001"/>
              <a:gd name="connsiteX3" fmla="*/ 9767 w 9943"/>
              <a:gd name="connsiteY3" fmla="*/ 2706 h 10001"/>
              <a:gd name="connsiteX4" fmla="*/ 4448 w 9943"/>
              <a:gd name="connsiteY4" fmla="*/ 0 h 10001"/>
              <a:gd name="connsiteX0" fmla="*/ 1492 w 10028"/>
              <a:gd name="connsiteY0" fmla="*/ 16 h 10024"/>
              <a:gd name="connsiteX1" fmla="*/ 1481 w 10028"/>
              <a:gd name="connsiteY1" fmla="*/ 7635 h 10024"/>
              <a:gd name="connsiteX2" fmla="*/ 454 w 10028"/>
              <a:gd name="connsiteY2" fmla="*/ 9775 h 10024"/>
              <a:gd name="connsiteX3" fmla="*/ 9850 w 10028"/>
              <a:gd name="connsiteY3" fmla="*/ 2706 h 10024"/>
              <a:gd name="connsiteX4" fmla="*/ 4500 w 10028"/>
              <a:gd name="connsiteY4" fmla="*/ 0 h 10024"/>
              <a:gd name="connsiteX0" fmla="*/ 1422 w 9958"/>
              <a:gd name="connsiteY0" fmla="*/ 16 h 9919"/>
              <a:gd name="connsiteX1" fmla="*/ 1411 w 9958"/>
              <a:gd name="connsiteY1" fmla="*/ 7635 h 9919"/>
              <a:gd name="connsiteX2" fmla="*/ 384 w 9958"/>
              <a:gd name="connsiteY2" fmla="*/ 9775 h 9919"/>
              <a:gd name="connsiteX3" fmla="*/ 9780 w 9958"/>
              <a:gd name="connsiteY3" fmla="*/ 2706 h 9919"/>
              <a:gd name="connsiteX4" fmla="*/ 4430 w 9958"/>
              <a:gd name="connsiteY4" fmla="*/ 0 h 9919"/>
              <a:gd name="connsiteX0" fmla="*/ 1428 w 9999"/>
              <a:gd name="connsiteY0" fmla="*/ 16 h 10000"/>
              <a:gd name="connsiteX1" fmla="*/ 1417 w 9999"/>
              <a:gd name="connsiteY1" fmla="*/ 7697 h 10000"/>
              <a:gd name="connsiteX2" fmla="*/ 386 w 9999"/>
              <a:gd name="connsiteY2" fmla="*/ 9855 h 10000"/>
              <a:gd name="connsiteX3" fmla="*/ 9821 w 9999"/>
              <a:gd name="connsiteY3" fmla="*/ 2728 h 10000"/>
              <a:gd name="connsiteX4" fmla="*/ 4449 w 9999"/>
              <a:gd name="connsiteY4" fmla="*/ 0 h 10000"/>
              <a:gd name="connsiteX0" fmla="*/ 1422 w 9994"/>
              <a:gd name="connsiteY0" fmla="*/ 16 h 9999"/>
              <a:gd name="connsiteX1" fmla="*/ 1411 w 9994"/>
              <a:gd name="connsiteY1" fmla="*/ 7697 h 9999"/>
              <a:gd name="connsiteX2" fmla="*/ 380 w 9994"/>
              <a:gd name="connsiteY2" fmla="*/ 9855 h 9999"/>
              <a:gd name="connsiteX3" fmla="*/ 9816 w 9994"/>
              <a:gd name="connsiteY3" fmla="*/ 2728 h 9999"/>
              <a:gd name="connsiteX4" fmla="*/ 4443 w 9994"/>
              <a:gd name="connsiteY4" fmla="*/ 0 h 9999"/>
              <a:gd name="connsiteX0" fmla="*/ 1423 w 9861"/>
              <a:gd name="connsiteY0" fmla="*/ 16 h 10000"/>
              <a:gd name="connsiteX1" fmla="*/ 1412 w 9861"/>
              <a:gd name="connsiteY1" fmla="*/ 7698 h 10000"/>
              <a:gd name="connsiteX2" fmla="*/ 380 w 9861"/>
              <a:gd name="connsiteY2" fmla="*/ 9856 h 10000"/>
              <a:gd name="connsiteX3" fmla="*/ 3862 w 9861"/>
              <a:gd name="connsiteY3" fmla="*/ 7697 h 10000"/>
              <a:gd name="connsiteX4" fmla="*/ 9822 w 9861"/>
              <a:gd name="connsiteY4" fmla="*/ 2728 h 10000"/>
              <a:gd name="connsiteX5" fmla="*/ 4446 w 9861"/>
              <a:gd name="connsiteY5" fmla="*/ 0 h 10000"/>
              <a:gd name="connsiteX0" fmla="*/ 1115 w 9671"/>
              <a:gd name="connsiteY0" fmla="*/ 16 h 9856"/>
              <a:gd name="connsiteX1" fmla="*/ 1104 w 9671"/>
              <a:gd name="connsiteY1" fmla="*/ 7698 h 9856"/>
              <a:gd name="connsiteX2" fmla="*/ 57 w 9671"/>
              <a:gd name="connsiteY2" fmla="*/ 9856 h 9856"/>
              <a:gd name="connsiteX3" fmla="*/ 3585 w 9671"/>
              <a:gd name="connsiteY3" fmla="*/ 7710 h 9856"/>
              <a:gd name="connsiteX4" fmla="*/ 9632 w 9671"/>
              <a:gd name="connsiteY4" fmla="*/ 2728 h 9856"/>
              <a:gd name="connsiteX5" fmla="*/ 4181 w 9671"/>
              <a:gd name="connsiteY5" fmla="*/ 0 h 9856"/>
              <a:gd name="connsiteX0" fmla="*/ 1153 w 10001"/>
              <a:gd name="connsiteY0" fmla="*/ 16 h 10000"/>
              <a:gd name="connsiteX1" fmla="*/ 1142 w 10001"/>
              <a:gd name="connsiteY1" fmla="*/ 7810 h 10000"/>
              <a:gd name="connsiteX2" fmla="*/ 59 w 10001"/>
              <a:gd name="connsiteY2" fmla="*/ 10000 h 10000"/>
              <a:gd name="connsiteX3" fmla="*/ 3707 w 10001"/>
              <a:gd name="connsiteY3" fmla="*/ 7823 h 10000"/>
              <a:gd name="connsiteX4" fmla="*/ 9960 w 10001"/>
              <a:gd name="connsiteY4" fmla="*/ 2768 h 10000"/>
              <a:gd name="connsiteX5" fmla="*/ 4323 w 10001"/>
              <a:gd name="connsiteY5" fmla="*/ 0 h 10000"/>
              <a:gd name="connsiteX0" fmla="*/ 187 w 9035"/>
              <a:gd name="connsiteY0" fmla="*/ 16 h 8627"/>
              <a:gd name="connsiteX1" fmla="*/ 176 w 9035"/>
              <a:gd name="connsiteY1" fmla="*/ 7810 h 8627"/>
              <a:gd name="connsiteX2" fmla="*/ 2741 w 9035"/>
              <a:gd name="connsiteY2" fmla="*/ 7823 h 8627"/>
              <a:gd name="connsiteX3" fmla="*/ 8994 w 9035"/>
              <a:gd name="connsiteY3" fmla="*/ 2768 h 8627"/>
              <a:gd name="connsiteX4" fmla="*/ 3357 w 9035"/>
              <a:gd name="connsiteY4" fmla="*/ 0 h 8627"/>
              <a:gd name="connsiteX0" fmla="*/ 207 w 10000"/>
              <a:gd name="connsiteY0" fmla="*/ 19 h 9728"/>
              <a:gd name="connsiteX1" fmla="*/ 195 w 10000"/>
              <a:gd name="connsiteY1" fmla="*/ 9053 h 9728"/>
              <a:gd name="connsiteX2" fmla="*/ 3034 w 10000"/>
              <a:gd name="connsiteY2" fmla="*/ 9068 h 9728"/>
              <a:gd name="connsiteX3" fmla="*/ 9955 w 10000"/>
              <a:gd name="connsiteY3" fmla="*/ 3209 h 9728"/>
              <a:gd name="connsiteX4" fmla="*/ 3716 w 10000"/>
              <a:gd name="connsiteY4" fmla="*/ 0 h 9728"/>
              <a:gd name="connsiteX0" fmla="*/ 207 w 10000"/>
              <a:gd name="connsiteY0" fmla="*/ 20 h 9323"/>
              <a:gd name="connsiteX1" fmla="*/ 195 w 10000"/>
              <a:gd name="connsiteY1" fmla="*/ 9306 h 9323"/>
              <a:gd name="connsiteX2" fmla="*/ 3034 w 10000"/>
              <a:gd name="connsiteY2" fmla="*/ 9322 h 9323"/>
              <a:gd name="connsiteX3" fmla="*/ 9955 w 10000"/>
              <a:gd name="connsiteY3" fmla="*/ 3299 h 9323"/>
              <a:gd name="connsiteX4" fmla="*/ 3716 w 10000"/>
              <a:gd name="connsiteY4" fmla="*/ 0 h 9323"/>
              <a:gd name="connsiteX0" fmla="*/ 207 w 10000"/>
              <a:gd name="connsiteY0" fmla="*/ 21 h 10000"/>
              <a:gd name="connsiteX1" fmla="*/ 195 w 10000"/>
              <a:gd name="connsiteY1" fmla="*/ 9982 h 10000"/>
              <a:gd name="connsiteX2" fmla="*/ 3034 w 10000"/>
              <a:gd name="connsiteY2" fmla="*/ 9999 h 10000"/>
              <a:gd name="connsiteX3" fmla="*/ 9955 w 10000"/>
              <a:gd name="connsiteY3" fmla="*/ 3539 h 10000"/>
              <a:gd name="connsiteX4" fmla="*/ 3716 w 10000"/>
              <a:gd name="connsiteY4" fmla="*/ 0 h 10000"/>
              <a:gd name="connsiteX0" fmla="*/ 207 w 10000"/>
              <a:gd name="connsiteY0" fmla="*/ 21 h 10000"/>
              <a:gd name="connsiteX1" fmla="*/ 195 w 10000"/>
              <a:gd name="connsiteY1" fmla="*/ 9982 h 10000"/>
              <a:gd name="connsiteX2" fmla="*/ 3034 w 10000"/>
              <a:gd name="connsiteY2" fmla="*/ 9999 h 10000"/>
              <a:gd name="connsiteX3" fmla="*/ 9955 w 10000"/>
              <a:gd name="connsiteY3" fmla="*/ 3539 h 10000"/>
              <a:gd name="connsiteX4" fmla="*/ 3716 w 10000"/>
              <a:gd name="connsiteY4" fmla="*/ 0 h 10000"/>
              <a:gd name="connsiteX0" fmla="*/ 207 w 10000"/>
              <a:gd name="connsiteY0" fmla="*/ 21 h 9999"/>
              <a:gd name="connsiteX1" fmla="*/ 195 w 10000"/>
              <a:gd name="connsiteY1" fmla="*/ 9982 h 9999"/>
              <a:gd name="connsiteX2" fmla="*/ 3034 w 10000"/>
              <a:gd name="connsiteY2" fmla="*/ 9999 h 9999"/>
              <a:gd name="connsiteX3" fmla="*/ 9955 w 10000"/>
              <a:gd name="connsiteY3" fmla="*/ 3539 h 9999"/>
              <a:gd name="connsiteX4" fmla="*/ 3716 w 10000"/>
              <a:gd name="connsiteY4" fmla="*/ 0 h 9999"/>
              <a:gd name="connsiteX0" fmla="*/ 207 w 10000"/>
              <a:gd name="connsiteY0" fmla="*/ 21 h 9988"/>
              <a:gd name="connsiteX1" fmla="*/ 195 w 10000"/>
              <a:gd name="connsiteY1" fmla="*/ 9983 h 9988"/>
              <a:gd name="connsiteX2" fmla="*/ 7054 w 10000"/>
              <a:gd name="connsiteY2" fmla="*/ 9988 h 9988"/>
              <a:gd name="connsiteX3" fmla="*/ 9955 w 10000"/>
              <a:gd name="connsiteY3" fmla="*/ 3539 h 9988"/>
              <a:gd name="connsiteX4" fmla="*/ 3716 w 10000"/>
              <a:gd name="connsiteY4" fmla="*/ 0 h 9988"/>
              <a:gd name="connsiteX0" fmla="*/ 207 w 10624"/>
              <a:gd name="connsiteY0" fmla="*/ 21 h 10000"/>
              <a:gd name="connsiteX1" fmla="*/ 195 w 10624"/>
              <a:gd name="connsiteY1" fmla="*/ 9995 h 10000"/>
              <a:gd name="connsiteX2" fmla="*/ 7054 w 10624"/>
              <a:gd name="connsiteY2" fmla="*/ 10000 h 10000"/>
              <a:gd name="connsiteX3" fmla="*/ 9955 w 10624"/>
              <a:gd name="connsiteY3" fmla="*/ 3543 h 10000"/>
              <a:gd name="connsiteX4" fmla="*/ 3716 w 10624"/>
              <a:gd name="connsiteY4" fmla="*/ 0 h 10000"/>
              <a:gd name="connsiteX0" fmla="*/ 207 w 10624"/>
              <a:gd name="connsiteY0" fmla="*/ 21 h 10000"/>
              <a:gd name="connsiteX1" fmla="*/ 195 w 10624"/>
              <a:gd name="connsiteY1" fmla="*/ 9995 h 10000"/>
              <a:gd name="connsiteX2" fmla="*/ 7054 w 10624"/>
              <a:gd name="connsiteY2" fmla="*/ 10000 h 10000"/>
              <a:gd name="connsiteX3" fmla="*/ 9955 w 10624"/>
              <a:gd name="connsiteY3" fmla="*/ 3543 h 10000"/>
              <a:gd name="connsiteX4" fmla="*/ 3716 w 10624"/>
              <a:gd name="connsiteY4" fmla="*/ 0 h 10000"/>
              <a:gd name="connsiteX0" fmla="*/ 207 w 11005"/>
              <a:gd name="connsiteY0" fmla="*/ 21 h 10000"/>
              <a:gd name="connsiteX1" fmla="*/ 195 w 11005"/>
              <a:gd name="connsiteY1" fmla="*/ 9995 h 10000"/>
              <a:gd name="connsiteX2" fmla="*/ 7054 w 11005"/>
              <a:gd name="connsiteY2" fmla="*/ 10000 h 10000"/>
              <a:gd name="connsiteX3" fmla="*/ 9955 w 11005"/>
              <a:gd name="connsiteY3" fmla="*/ 3543 h 10000"/>
              <a:gd name="connsiteX4" fmla="*/ 3716 w 11005"/>
              <a:gd name="connsiteY4" fmla="*/ 0 h 10000"/>
              <a:gd name="connsiteX0" fmla="*/ 207 w 10944"/>
              <a:gd name="connsiteY0" fmla="*/ 21 h 10000"/>
              <a:gd name="connsiteX1" fmla="*/ 195 w 10944"/>
              <a:gd name="connsiteY1" fmla="*/ 9995 h 10000"/>
              <a:gd name="connsiteX2" fmla="*/ 7054 w 10944"/>
              <a:gd name="connsiteY2" fmla="*/ 10000 h 10000"/>
              <a:gd name="connsiteX3" fmla="*/ 9955 w 10944"/>
              <a:gd name="connsiteY3" fmla="*/ 3543 h 10000"/>
              <a:gd name="connsiteX4" fmla="*/ 3716 w 10944"/>
              <a:gd name="connsiteY4" fmla="*/ 0 h 10000"/>
              <a:gd name="connsiteX0" fmla="*/ 207 w 10909"/>
              <a:gd name="connsiteY0" fmla="*/ 21 h 10000"/>
              <a:gd name="connsiteX1" fmla="*/ 195 w 10909"/>
              <a:gd name="connsiteY1" fmla="*/ 9995 h 10000"/>
              <a:gd name="connsiteX2" fmla="*/ 7054 w 10909"/>
              <a:gd name="connsiteY2" fmla="*/ 10000 h 10000"/>
              <a:gd name="connsiteX3" fmla="*/ 9955 w 10909"/>
              <a:gd name="connsiteY3" fmla="*/ 3543 h 10000"/>
              <a:gd name="connsiteX4" fmla="*/ 3716 w 10909"/>
              <a:gd name="connsiteY4" fmla="*/ 0 h 10000"/>
              <a:gd name="connsiteX0" fmla="*/ 207 w 10909"/>
              <a:gd name="connsiteY0" fmla="*/ 21 h 10000"/>
              <a:gd name="connsiteX1" fmla="*/ 195 w 10909"/>
              <a:gd name="connsiteY1" fmla="*/ 9995 h 10000"/>
              <a:gd name="connsiteX2" fmla="*/ 7054 w 10909"/>
              <a:gd name="connsiteY2" fmla="*/ 10000 h 10000"/>
              <a:gd name="connsiteX3" fmla="*/ 9955 w 10909"/>
              <a:gd name="connsiteY3" fmla="*/ 3543 h 10000"/>
              <a:gd name="connsiteX4" fmla="*/ 3716 w 10909"/>
              <a:gd name="connsiteY4" fmla="*/ 0 h 10000"/>
              <a:gd name="connsiteX0" fmla="*/ 207 w 10955"/>
              <a:gd name="connsiteY0" fmla="*/ 21 h 10000"/>
              <a:gd name="connsiteX1" fmla="*/ 195 w 10955"/>
              <a:gd name="connsiteY1" fmla="*/ 9995 h 10000"/>
              <a:gd name="connsiteX2" fmla="*/ 7054 w 10955"/>
              <a:gd name="connsiteY2" fmla="*/ 10000 h 10000"/>
              <a:gd name="connsiteX3" fmla="*/ 9955 w 10955"/>
              <a:gd name="connsiteY3" fmla="*/ 3543 h 10000"/>
              <a:gd name="connsiteX4" fmla="*/ 3716 w 10955"/>
              <a:gd name="connsiteY4" fmla="*/ 0 h 10000"/>
              <a:gd name="connsiteX0" fmla="*/ 198 w 10946"/>
              <a:gd name="connsiteY0" fmla="*/ 21 h 10000"/>
              <a:gd name="connsiteX1" fmla="*/ 186 w 10946"/>
              <a:gd name="connsiteY1" fmla="*/ 9995 h 10000"/>
              <a:gd name="connsiteX2" fmla="*/ 7045 w 10946"/>
              <a:gd name="connsiteY2" fmla="*/ 10000 h 10000"/>
              <a:gd name="connsiteX3" fmla="*/ 9946 w 10946"/>
              <a:gd name="connsiteY3" fmla="*/ 3543 h 10000"/>
              <a:gd name="connsiteX4" fmla="*/ 3707 w 10946"/>
              <a:gd name="connsiteY4" fmla="*/ 0 h 10000"/>
              <a:gd name="connsiteX0" fmla="*/ 12 w 10760"/>
              <a:gd name="connsiteY0" fmla="*/ 21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1927 w 10760"/>
              <a:gd name="connsiteY0" fmla="*/ 9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3264 w 10760"/>
              <a:gd name="connsiteY0" fmla="*/ 159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2883 w 10760"/>
              <a:gd name="connsiteY0" fmla="*/ 13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2 w 7879"/>
              <a:gd name="connsiteY0" fmla="*/ 13 h 10000"/>
              <a:gd name="connsiteX1" fmla="*/ 499 w 7879"/>
              <a:gd name="connsiteY1" fmla="*/ 9990 h 10000"/>
              <a:gd name="connsiteX2" fmla="*/ 3978 w 7879"/>
              <a:gd name="connsiteY2" fmla="*/ 10000 h 10000"/>
              <a:gd name="connsiteX3" fmla="*/ 6879 w 7879"/>
              <a:gd name="connsiteY3" fmla="*/ 3543 h 10000"/>
              <a:gd name="connsiteX4" fmla="*/ 640 w 7879"/>
              <a:gd name="connsiteY4" fmla="*/ 0 h 10000"/>
              <a:gd name="connsiteX0" fmla="*/ 16 w 10014"/>
              <a:gd name="connsiteY0" fmla="*/ 13 h 10002"/>
              <a:gd name="connsiteX1" fmla="*/ 0 w 10014"/>
              <a:gd name="connsiteY1" fmla="*/ 10002 h 10002"/>
              <a:gd name="connsiteX2" fmla="*/ 5062 w 10014"/>
              <a:gd name="connsiteY2" fmla="*/ 10000 h 10002"/>
              <a:gd name="connsiteX3" fmla="*/ 8744 w 10014"/>
              <a:gd name="connsiteY3" fmla="*/ 3543 h 10002"/>
              <a:gd name="connsiteX4" fmla="*/ 825 w 10014"/>
              <a:gd name="connsiteY4" fmla="*/ 0 h 10002"/>
              <a:gd name="connsiteX0" fmla="*/ 22 w 10020"/>
              <a:gd name="connsiteY0" fmla="*/ 13 h 10002"/>
              <a:gd name="connsiteX1" fmla="*/ 6 w 10020"/>
              <a:gd name="connsiteY1" fmla="*/ 10002 h 10002"/>
              <a:gd name="connsiteX2" fmla="*/ 5068 w 10020"/>
              <a:gd name="connsiteY2" fmla="*/ 10000 h 10002"/>
              <a:gd name="connsiteX3" fmla="*/ 8750 w 10020"/>
              <a:gd name="connsiteY3" fmla="*/ 3543 h 10002"/>
              <a:gd name="connsiteX4" fmla="*/ 831 w 10020"/>
              <a:gd name="connsiteY4" fmla="*/ 0 h 10002"/>
              <a:gd name="connsiteX0" fmla="*/ 24 w 10019"/>
              <a:gd name="connsiteY0" fmla="*/ 21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24 w 10019"/>
              <a:gd name="connsiteY0" fmla="*/ 15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24 w 10019"/>
              <a:gd name="connsiteY0" fmla="*/ 13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18 w 10027"/>
              <a:gd name="connsiteY0" fmla="*/ 15 h 10002"/>
              <a:gd name="connsiteX1" fmla="*/ 13 w 10027"/>
              <a:gd name="connsiteY1" fmla="*/ 10002 h 10002"/>
              <a:gd name="connsiteX2" fmla="*/ 5075 w 10027"/>
              <a:gd name="connsiteY2" fmla="*/ 10000 h 10002"/>
              <a:gd name="connsiteX3" fmla="*/ 8757 w 10027"/>
              <a:gd name="connsiteY3" fmla="*/ 3543 h 10002"/>
              <a:gd name="connsiteX4" fmla="*/ 838 w 10027"/>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25 w 10014"/>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01 w 10014"/>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01 w 10014"/>
              <a:gd name="connsiteY4" fmla="*/ 0 h 10002"/>
              <a:gd name="connsiteX0" fmla="*/ 5 w 9975"/>
              <a:gd name="connsiteY0" fmla="*/ 15 h 10002"/>
              <a:gd name="connsiteX1" fmla="*/ 0 w 9975"/>
              <a:gd name="connsiteY1" fmla="*/ 10002 h 10002"/>
              <a:gd name="connsiteX2" fmla="*/ 5062 w 9975"/>
              <a:gd name="connsiteY2" fmla="*/ 10000 h 10002"/>
              <a:gd name="connsiteX3" fmla="*/ 8744 w 9975"/>
              <a:gd name="connsiteY3" fmla="*/ 3543 h 10002"/>
              <a:gd name="connsiteX4" fmla="*/ 801 w 9975"/>
              <a:gd name="connsiteY4" fmla="*/ 0 h 10002"/>
              <a:gd name="connsiteX0" fmla="*/ 5 w 10033"/>
              <a:gd name="connsiteY0" fmla="*/ 15 h 10000"/>
              <a:gd name="connsiteX1" fmla="*/ 0 w 10033"/>
              <a:gd name="connsiteY1" fmla="*/ 10000 h 10000"/>
              <a:gd name="connsiteX2" fmla="*/ 5075 w 10033"/>
              <a:gd name="connsiteY2" fmla="*/ 9998 h 10000"/>
              <a:gd name="connsiteX3" fmla="*/ 8766 w 10033"/>
              <a:gd name="connsiteY3" fmla="*/ 3542 h 10000"/>
              <a:gd name="connsiteX4" fmla="*/ 803 w 10033"/>
              <a:gd name="connsiteY4" fmla="*/ 0 h 10000"/>
              <a:gd name="connsiteX0" fmla="*/ 0 w 10359"/>
              <a:gd name="connsiteY0" fmla="*/ 5 h 10000"/>
              <a:gd name="connsiteX1" fmla="*/ 326 w 10359"/>
              <a:gd name="connsiteY1" fmla="*/ 10000 h 10000"/>
              <a:gd name="connsiteX2" fmla="*/ 5401 w 10359"/>
              <a:gd name="connsiteY2" fmla="*/ 9998 h 10000"/>
              <a:gd name="connsiteX3" fmla="*/ 9092 w 10359"/>
              <a:gd name="connsiteY3" fmla="*/ 3542 h 10000"/>
              <a:gd name="connsiteX4" fmla="*/ 1129 w 10359"/>
              <a:gd name="connsiteY4" fmla="*/ 0 h 10000"/>
              <a:gd name="connsiteX0" fmla="*/ 11 w 10370"/>
              <a:gd name="connsiteY0" fmla="*/ 5 h 9998"/>
              <a:gd name="connsiteX1" fmla="*/ 0 w 10370"/>
              <a:gd name="connsiteY1" fmla="*/ 9983 h 9998"/>
              <a:gd name="connsiteX2" fmla="*/ 5412 w 10370"/>
              <a:gd name="connsiteY2" fmla="*/ 9998 h 9998"/>
              <a:gd name="connsiteX3" fmla="*/ 9103 w 10370"/>
              <a:gd name="connsiteY3" fmla="*/ 3542 h 9998"/>
              <a:gd name="connsiteX4" fmla="*/ 1140 w 10370"/>
              <a:gd name="connsiteY4" fmla="*/ 0 h 9998"/>
              <a:gd name="connsiteX0" fmla="*/ 11 w 10000"/>
              <a:gd name="connsiteY0" fmla="*/ 5 h 10000"/>
              <a:gd name="connsiteX1" fmla="*/ 0 w 10000"/>
              <a:gd name="connsiteY1" fmla="*/ 9995 h 10000"/>
              <a:gd name="connsiteX2" fmla="*/ 5219 w 10000"/>
              <a:gd name="connsiteY2" fmla="*/ 10000 h 10000"/>
              <a:gd name="connsiteX3" fmla="*/ 8778 w 10000"/>
              <a:gd name="connsiteY3" fmla="*/ 3543 h 10000"/>
              <a:gd name="connsiteX4" fmla="*/ 1099 w 10000"/>
              <a:gd name="connsiteY4" fmla="*/ 0 h 10000"/>
              <a:gd name="connsiteX0" fmla="*/ 11 w 10000"/>
              <a:gd name="connsiteY0" fmla="*/ 5 h 10000"/>
              <a:gd name="connsiteX1" fmla="*/ 0 w 10000"/>
              <a:gd name="connsiteY1" fmla="*/ 10000 h 10000"/>
              <a:gd name="connsiteX2" fmla="*/ 5219 w 10000"/>
              <a:gd name="connsiteY2" fmla="*/ 10000 h 10000"/>
              <a:gd name="connsiteX3" fmla="*/ 8778 w 10000"/>
              <a:gd name="connsiteY3" fmla="*/ 3543 h 10000"/>
              <a:gd name="connsiteX4" fmla="*/ 109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1" y="5"/>
                </a:moveTo>
                <a:cubicBezTo>
                  <a:pt x="4" y="653"/>
                  <a:pt x="6" y="9269"/>
                  <a:pt x="0" y="10000"/>
                </a:cubicBezTo>
                <a:lnTo>
                  <a:pt x="5219" y="10000"/>
                </a:lnTo>
                <a:cubicBezTo>
                  <a:pt x="11830" y="6870"/>
                  <a:pt x="10065" y="3822"/>
                  <a:pt x="8778" y="3543"/>
                </a:cubicBezTo>
                <a:cubicBezTo>
                  <a:pt x="9452" y="5694"/>
                  <a:pt x="2995" y="3804"/>
                  <a:pt x="1099" y="0"/>
                </a:cubicBezTo>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endParaRPr lang="en-US" sz="2400" dirty="0"/>
          </a:p>
        </p:txBody>
      </p:sp>
      <p:grpSp>
        <p:nvGrpSpPr>
          <p:cNvPr id="5" name="Group 4"/>
          <p:cNvGrpSpPr/>
          <p:nvPr userDrawn="1"/>
        </p:nvGrpSpPr>
        <p:grpSpPr>
          <a:xfrm>
            <a:off x="4938560" y="2397563"/>
            <a:ext cx="721601" cy="682904"/>
            <a:chOff x="5662614" y="3032124"/>
            <a:chExt cx="863600" cy="801689"/>
          </a:xfrm>
        </p:grpSpPr>
        <p:sp>
          <p:nvSpPr>
            <p:cNvPr id="6" name="Freeform 5"/>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7" name="Freeform 6"/>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grpSp>
      <p:sp>
        <p:nvSpPr>
          <p:cNvPr id="16" name="Rectangle 15"/>
          <p:cNvSpPr/>
          <p:nvPr userDrawn="1"/>
        </p:nvSpPr>
        <p:spPr>
          <a:xfrm>
            <a:off x="803869" y="5063024"/>
            <a:ext cx="4024517" cy="723275"/>
          </a:xfrm>
          <a:prstGeom prst="rect">
            <a:avLst/>
          </a:prstGeom>
        </p:spPr>
        <p:txBody>
          <a:bodyPr wrap="square" lIns="0" tIns="0" rIns="0" bIns="0" anchor="b" anchorCtr="0">
            <a:spAutoFit/>
          </a:bodyPr>
          <a:lstStyle/>
          <a:p>
            <a:pPr>
              <a:spcAft>
                <a:spcPts val="600"/>
              </a:spcAft>
            </a:pPr>
            <a: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t>This message contains information that may be privileged or confidential and is the property of the Capgemini Group.</a:t>
            </a:r>
            <a:b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br>
            <a: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t>Copyright © 2018 Capgemini. All rights reserved.</a:t>
            </a:r>
          </a:p>
          <a:p>
            <a:pPr marL="0" marR="0" indent="0" defTabSz="957732" rtl="0" eaLnBrk="1" fontAlgn="auto" latinLnBrk="0" hangingPunct="1">
              <a:lnSpc>
                <a:spcPct val="100000"/>
              </a:lnSpc>
              <a:spcBef>
                <a:spcPts val="0"/>
              </a:spcBef>
              <a:spcAft>
                <a:spcPts val="600"/>
              </a:spcAft>
              <a:buClrTx/>
              <a:buSzTx/>
              <a:buFontTx/>
              <a:buNone/>
              <a:tabLst/>
              <a:defRPr/>
            </a:pPr>
            <a: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t>Rightshore</a:t>
            </a:r>
            <a:r>
              <a:rPr lang="en-US" sz="1050" baseline="30000" noProof="0" dirty="0">
                <a:solidFill>
                  <a:schemeClr val="bg1"/>
                </a:solidFill>
                <a:latin typeface="Verdana" panose="020B0604030504040204" pitchFamily="34" charset="0"/>
                <a:ea typeface="Verdana" panose="020B0604030504040204" pitchFamily="34" charset="0"/>
                <a:cs typeface="Verdana" panose="020B0604030504040204" pitchFamily="34" charset="0"/>
              </a:rPr>
              <a:t>®</a:t>
            </a:r>
            <a: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t> is a trademark belonging to Capgemini.</a:t>
            </a:r>
          </a:p>
        </p:txBody>
      </p:sp>
      <p:pic>
        <p:nvPicPr>
          <p:cNvPr id="24" name="Picture 2" descr="D:\My Work\Template\Icons\Social Media\LinkedIN.png">
            <a:hlinkClick r:id="rId7"/>
          </p:cNvPr>
          <p:cNvPicPr>
            <a:picLocks noChangeAspect="1" noChangeArrowheads="1"/>
          </p:cNvPicPr>
          <p:nvPr userDrawn="1"/>
        </p:nvPicPr>
        <p:blipFill>
          <a:blip r:embed="rId8" cstate="print"/>
          <a:srcRect/>
          <a:stretch>
            <a:fillRect/>
          </a:stretch>
        </p:blipFill>
        <p:spPr bwMode="auto">
          <a:xfrm>
            <a:off x="1237871" y="3450893"/>
            <a:ext cx="436028" cy="444511"/>
          </a:xfrm>
          <a:prstGeom prst="rect">
            <a:avLst/>
          </a:prstGeom>
          <a:noFill/>
        </p:spPr>
      </p:pic>
      <p:pic>
        <p:nvPicPr>
          <p:cNvPr id="25" name="Picture 4" descr="D:\My Work\Template\Icons\Social Media\SlideShare.png">
            <a:hlinkClick r:id="rId9"/>
          </p:cNvPr>
          <p:cNvPicPr>
            <a:picLocks noChangeAspect="1" noChangeArrowheads="1"/>
          </p:cNvPicPr>
          <p:nvPr userDrawn="1"/>
        </p:nvPicPr>
        <p:blipFill>
          <a:blip r:embed="rId10" cstate="print"/>
          <a:srcRect/>
          <a:stretch>
            <a:fillRect/>
          </a:stretch>
        </p:blipFill>
        <p:spPr bwMode="auto">
          <a:xfrm>
            <a:off x="1739569" y="3450893"/>
            <a:ext cx="436028" cy="444511"/>
          </a:xfrm>
          <a:prstGeom prst="rect">
            <a:avLst/>
          </a:prstGeom>
          <a:noFill/>
        </p:spPr>
      </p:pic>
      <p:pic>
        <p:nvPicPr>
          <p:cNvPr id="26" name="Picture 5" descr="D:\My Work\Template\Icons\Social Media\Twitter.png">
            <a:hlinkClick r:id="rId11"/>
          </p:cNvPr>
          <p:cNvPicPr>
            <a:picLocks noChangeAspect="1" noChangeArrowheads="1"/>
          </p:cNvPicPr>
          <p:nvPr userDrawn="1"/>
        </p:nvPicPr>
        <p:blipFill>
          <a:blip r:embed="rId12" cstate="print"/>
          <a:srcRect/>
          <a:stretch>
            <a:fillRect/>
          </a:stretch>
        </p:blipFill>
        <p:spPr bwMode="auto">
          <a:xfrm>
            <a:off x="2241265" y="3450893"/>
            <a:ext cx="436028" cy="444511"/>
          </a:xfrm>
          <a:prstGeom prst="rect">
            <a:avLst/>
          </a:prstGeom>
          <a:noFill/>
        </p:spPr>
      </p:pic>
      <p:pic>
        <p:nvPicPr>
          <p:cNvPr id="27" name="Picture 6" descr="D:\My Work\Template\Icons\Social Media\YouTube.png">
            <a:hlinkClick r:id="rId13"/>
          </p:cNvPr>
          <p:cNvPicPr>
            <a:picLocks noChangeAspect="1" noChangeArrowheads="1"/>
          </p:cNvPicPr>
          <p:nvPr userDrawn="1"/>
        </p:nvPicPr>
        <p:blipFill>
          <a:blip r:embed="rId14" cstate="print"/>
          <a:srcRect/>
          <a:stretch>
            <a:fillRect/>
          </a:stretch>
        </p:blipFill>
        <p:spPr bwMode="auto">
          <a:xfrm>
            <a:off x="2742961" y="3450893"/>
            <a:ext cx="436028" cy="444511"/>
          </a:xfrm>
          <a:prstGeom prst="rect">
            <a:avLst/>
          </a:prstGeom>
          <a:noFill/>
        </p:spPr>
      </p:pic>
      <p:pic>
        <p:nvPicPr>
          <p:cNvPr id="28" name="Picture 7" descr="D:\My Work\Template\Icons\Social Media\Facebook.png">
            <a:hlinkClick r:id="rId15"/>
          </p:cNvPr>
          <p:cNvPicPr>
            <a:picLocks noChangeAspect="1" noChangeArrowheads="1"/>
          </p:cNvPicPr>
          <p:nvPr userDrawn="1"/>
        </p:nvPicPr>
        <p:blipFill>
          <a:blip r:embed="rId16" cstate="print"/>
          <a:srcRect/>
          <a:stretch>
            <a:fillRect/>
          </a:stretch>
        </p:blipFill>
        <p:spPr bwMode="auto">
          <a:xfrm>
            <a:off x="736173" y="3450893"/>
            <a:ext cx="436028" cy="444511"/>
          </a:xfrm>
          <a:prstGeom prst="rect">
            <a:avLst/>
          </a:prstGeom>
          <a:noFill/>
        </p:spPr>
      </p:pic>
      <p:pic>
        <p:nvPicPr>
          <p:cNvPr id="29" name="Picture 28"/>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726401" y="4057788"/>
            <a:ext cx="3350504" cy="268168"/>
          </a:xfrm>
          <a:prstGeom prst="rect">
            <a:avLst/>
          </a:prstGeom>
        </p:spPr>
      </p:pic>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79F1DAD-5BB1-4142-B838-01DB99370135}"/>
              </a:ext>
            </a:extLst>
          </p:cNvPr>
          <p:cNvSpPr/>
          <p:nvPr userDrawn="1"/>
        </p:nvSpPr>
        <p:spPr>
          <a:xfrm>
            <a:off x="0" y="4077072"/>
            <a:ext cx="12192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solidFill>
                <a:prstClr val="white"/>
              </a:solidFill>
            </a:endParaRPr>
          </a:p>
        </p:txBody>
      </p:sp>
      <p:sp>
        <p:nvSpPr>
          <p:cNvPr id="9"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426488"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a16="http://schemas.microsoft.com/office/drawing/2014/main" id="{8D6FD04F-776D-4BC2-9828-DC149A95B778}"/>
              </a:ext>
            </a:extLst>
          </p:cNvPr>
          <p:cNvSpPr>
            <a:spLocks noGrp="1"/>
          </p:cNvSpPr>
          <p:nvPr>
            <p:ph type="body" sz="quarter" idx="27" hasCustomPrompt="1"/>
          </p:nvPr>
        </p:nvSpPr>
        <p:spPr>
          <a:xfrm>
            <a:off x="8217853"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a16="http://schemas.microsoft.com/office/drawing/2014/main" id="{5A2CDF95-9D29-4775-8BEF-90BC5372B782}"/>
              </a:ext>
            </a:extLst>
          </p:cNvPr>
          <p:cNvSpPr>
            <a:spLocks noGrp="1"/>
          </p:cNvSpPr>
          <p:nvPr>
            <p:ph type="body" sz="quarter" idx="29" hasCustomPrompt="1"/>
          </p:nvPr>
        </p:nvSpPr>
        <p:spPr>
          <a:xfrm>
            <a:off x="4322171"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a16="http://schemas.microsoft.com/office/drawing/2014/main" id="{6012FFDA-311F-429E-998E-F6E6B0A7186E}"/>
              </a:ext>
            </a:extLst>
          </p:cNvPr>
          <p:cNvSpPr>
            <a:spLocks noGrp="1"/>
          </p:cNvSpPr>
          <p:nvPr>
            <p:ph type="body" sz="quarter" idx="31" hasCustomPrompt="1"/>
          </p:nvPr>
        </p:nvSpPr>
        <p:spPr>
          <a:xfrm>
            <a:off x="407987" y="4231996"/>
            <a:ext cx="11376025"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426488"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4322171"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8217853"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26487" y="4674187"/>
            <a:ext cx="11357525"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902014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Left Blue Shapes">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p:nvSpPr>
        <p:spPr>
          <a:xfrm>
            <a:off x="11784013" y="6563782"/>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9" name="Retângulo 43">
            <a:extLst>
              <a:ext uri="{FF2B5EF4-FFF2-40B4-BE49-F238E27FC236}">
                <a16:creationId xmlns:a16="http://schemas.microsoft.com/office/drawing/2014/main" id="{834ADCB4-BFB1-450D-8F6D-64217F4CD92C}"/>
              </a:ext>
            </a:extLst>
          </p:cNvPr>
          <p:cNvSpPr/>
          <p:nvPr/>
        </p:nvSpPr>
        <p:spPr>
          <a:xfrm>
            <a:off x="2143141" y="6559770"/>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5400000">
            <a:off x="-293000" y="293000"/>
            <a:ext cx="2943964" cy="2357965"/>
          </a:xfrm>
          <a:prstGeom prst="rect">
            <a:avLst/>
          </a:prstGeom>
        </p:spPr>
      </p:pic>
      <p:pic>
        <p:nvPicPr>
          <p:cNvPr id="11" name="Picture 10"/>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rot="5400000">
            <a:off x="-1828811" y="1589302"/>
            <a:ext cx="7097507" cy="3439886"/>
          </a:xfrm>
          <a:prstGeom prst="rect">
            <a:avLst/>
          </a:prstGeom>
        </p:spPr>
      </p:pic>
      <p:sp>
        <p:nvSpPr>
          <p:cNvPr id="4" name="Title Placeholder 1">
            <a:extLst>
              <a:ext uri="{FF2B5EF4-FFF2-40B4-BE49-F238E27FC236}">
                <a16:creationId xmlns:a16="http://schemas.microsoft.com/office/drawing/2014/main" id="{B072F9E7-9004-4534-BB18-050CFDD84E1F}"/>
              </a:ext>
            </a:extLst>
          </p:cNvPr>
          <p:cNvSpPr>
            <a:spLocks noGrp="1"/>
          </p:cNvSpPr>
          <p:nvPr>
            <p:ph type="title"/>
          </p:nvPr>
        </p:nvSpPr>
        <p:spPr>
          <a:xfrm>
            <a:off x="2365828" y="419328"/>
            <a:ext cx="8986191" cy="1017586"/>
          </a:xfrm>
          <a:prstGeom prst="rect">
            <a:avLst/>
          </a:prstGeom>
        </p:spPr>
        <p:txBody>
          <a:bodyPr vert="horz" lIns="0" tIns="0" rIns="0" bIns="0" rtlCol="0" anchor="t">
            <a:normAutofit/>
          </a:bodyPr>
          <a:lstStyle/>
          <a:p>
            <a:pPr lvl="0">
              <a:lnSpc>
                <a:spcPts val="3000"/>
              </a:lnSpc>
            </a:pPr>
            <a:r>
              <a:rPr lang="en-US"/>
              <a:t>Click to edit Master title style</a:t>
            </a:r>
            <a:endParaRPr lang="pt-PT" dirty="0"/>
          </a:p>
        </p:txBody>
      </p:sp>
      <p:sp>
        <p:nvSpPr>
          <p:cNvPr id="5" name="Text Placeholder 4"/>
          <p:cNvSpPr>
            <a:spLocks noGrp="1"/>
          </p:cNvSpPr>
          <p:nvPr>
            <p:ph type="body" sz="quarter" idx="10"/>
          </p:nvPr>
        </p:nvSpPr>
        <p:spPr>
          <a:xfrm>
            <a:off x="322263" y="2523067"/>
            <a:ext cx="2370137" cy="338719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sz="1100" baseline="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4488592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4_Blank-White_2_All rights reserved">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p:nvSpPr>
        <p:spPr>
          <a:xfrm>
            <a:off x="11784013" y="6560260"/>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9" name="Retângulo 43">
            <a:extLst>
              <a:ext uri="{FF2B5EF4-FFF2-40B4-BE49-F238E27FC236}">
                <a16:creationId xmlns:a16="http://schemas.microsoft.com/office/drawing/2014/main" id="{834ADCB4-BFB1-450D-8F6D-64217F4CD92C}"/>
              </a:ext>
            </a:extLst>
          </p:cNvPr>
          <p:cNvSpPr/>
          <p:nvPr/>
        </p:nvSpPr>
        <p:spPr>
          <a:xfrm>
            <a:off x="283464" y="655624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4" name="Title Placeholder 1">
            <a:extLst>
              <a:ext uri="{FF2B5EF4-FFF2-40B4-BE49-F238E27FC236}">
                <a16:creationId xmlns:a16="http://schemas.microsoft.com/office/drawing/2014/main" id="{B072F9E7-9004-4534-BB18-050CFDD84E1F}"/>
              </a:ext>
            </a:extLst>
          </p:cNvPr>
          <p:cNvSpPr>
            <a:spLocks noGrp="1"/>
          </p:cNvSpPr>
          <p:nvPr>
            <p:ph type="title"/>
          </p:nvPr>
        </p:nvSpPr>
        <p:spPr>
          <a:xfrm>
            <a:off x="541867" y="418066"/>
            <a:ext cx="10904721" cy="581002"/>
          </a:xfrm>
          <a:prstGeom prst="rect">
            <a:avLst/>
          </a:prstGeom>
        </p:spPr>
        <p:txBody>
          <a:bodyPr vert="horz" lIns="0" tIns="0" rIns="0" bIns="0" rtlCol="0" anchor="t">
            <a:normAutofit/>
          </a:bodyPr>
          <a:lstStyle>
            <a:lvl1pPr>
              <a:defRPr b="1">
                <a:solidFill>
                  <a:srgbClr val="0075B3"/>
                </a:solidFill>
              </a:defRPr>
            </a:lvl1pPr>
          </a:lstStyle>
          <a:p>
            <a:pPr lvl="0">
              <a:lnSpc>
                <a:spcPts val="3000"/>
              </a:lnSpc>
            </a:pPr>
            <a:r>
              <a:rPr lang="en-US" dirty="0"/>
              <a:t>Click to edit Master title style</a:t>
            </a:r>
            <a:endParaRPr lang="pt-PT" dirty="0"/>
          </a:p>
        </p:txBody>
      </p:sp>
      <p:sp>
        <p:nvSpPr>
          <p:cNvPr id="11" name="Text Placeholder 10"/>
          <p:cNvSpPr>
            <a:spLocks noGrp="1"/>
          </p:cNvSpPr>
          <p:nvPr>
            <p:ph type="body" sz="quarter" idx="10"/>
          </p:nvPr>
        </p:nvSpPr>
        <p:spPr>
          <a:xfrm>
            <a:off x="581890" y="1169938"/>
            <a:ext cx="10404763" cy="1102207"/>
          </a:xfrm>
        </p:spPr>
        <p:txBody>
          <a:bodyPr/>
          <a:lstStyle>
            <a:lvl1pPr>
              <a:defRPr>
                <a:solidFill>
                  <a:srgbClr val="1276B0"/>
                </a:solidFill>
              </a:defRPr>
            </a:lvl1pPr>
            <a:lvl2pPr>
              <a:defRPr>
                <a:solidFill>
                  <a:srgbClr val="1276B0"/>
                </a:solidFill>
              </a:defRPr>
            </a:lvl2pPr>
            <a:lvl3pPr>
              <a:defRPr>
                <a:solidFill>
                  <a:srgbClr val="1276B0"/>
                </a:solidFill>
              </a:defRPr>
            </a:lvl3pPr>
            <a:lvl4pPr>
              <a:defRPr>
                <a:solidFill>
                  <a:srgbClr val="1276B0"/>
                </a:solidFill>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53509662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13314"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4775225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3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noAutofit/>
          </a:bodyPr>
          <a:lstStyle/>
          <a:p>
            <a:endParaRPr lang="en-GB"/>
          </a:p>
        </p:txBody>
      </p:sp>
      <p:sp>
        <p:nvSpPr>
          <p:cNvPr id="2" name="Title 1"/>
          <p:cNvSpPr>
            <a:spLocks noGrp="1"/>
          </p:cNvSpPr>
          <p:nvPr>
            <p:ph type="title"/>
          </p:nvPr>
        </p:nvSpPr>
        <p:spPr>
          <a:xfrm>
            <a:off x="1251097" y="0"/>
            <a:ext cx="10377711" cy="1104900"/>
          </a:xfrm>
        </p:spPr>
        <p:txBody>
          <a:bodyPr>
            <a:noAutofit/>
          </a:bodyPr>
          <a:lstStyle/>
          <a:p>
            <a:r>
              <a:rPr lang="en-US" dirty="0"/>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1251097" y="1148607"/>
            <a:ext cx="10940903" cy="504056"/>
          </a:xfrm>
          <a:prstGeom prst="rect">
            <a:avLst/>
          </a:prstGeom>
        </p:spPr>
        <p:txBody>
          <a:bodyPr>
            <a:noAutofit/>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Autofit/>
          </a:bodyPr>
          <a:lstStyle>
            <a:lvl1pPr marL="0" indent="0" algn="ctr" defTabSz="914400" rtl="0" eaLnBrk="1" latinLnBrk="0" hangingPunct="1">
              <a:lnSpc>
                <a:spcPct val="90000"/>
              </a:lnSpc>
              <a:spcBef>
                <a:spcPts val="1000"/>
              </a:spcBef>
              <a:buFont typeface="Arial" panose="020B0604020202020204" pitchFamily="34" charset="0"/>
              <a:buNone/>
              <a:defRPr lang="en-GB" sz="1600" b="1"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80553324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lnSpc>
                <a:spcPct val="100000"/>
              </a:lnSpc>
            </a:pPr>
            <a:fld id="{0502E5A9-B53C-401E-A0E0-4A359BB0A9E5}" type="slidenum">
              <a:rPr lang="en-US" sz="800" smtClean="0">
                <a:solidFill>
                  <a:prstClr val="black">
                    <a:lumMod val="50000"/>
                    <a:lumOff val="50000"/>
                  </a:prstClr>
                </a:solidFill>
                <a:cs typeface="Arial" panose="020B0604020202020204" pitchFamily="34" charset="0"/>
              </a:rPr>
              <a:pPr algn="r">
                <a:lnSpc>
                  <a:spcPct val="100000"/>
                </a:lnSpc>
              </a:p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93370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468880" cy="219456"/>
          </a:xfrm>
          <a:prstGeom prst="rect">
            <a:avLst/>
          </a:prstGeom>
        </p:spPr>
        <p:txBody>
          <a:bodyPr wrap="square" lIns="0" tIns="0" rIns="0" bIns="0" anchor="ctr" anchorCtr="0">
            <a:noAutofit/>
          </a:bodyPr>
          <a:lstStyle/>
          <a:p>
            <a:pPr lvl="0" algn="l" defTabSz="914400">
              <a:lnSpc>
                <a:spcPct val="100000"/>
              </a:lnSpc>
              <a:defRPr/>
            </a:pPr>
            <a:r>
              <a:rPr lang="en-US" sz="800" kern="0" dirty="0">
                <a:solidFill>
                  <a:srgbClr val="00458D"/>
                </a:solidFill>
                <a:latin typeface="+mj-lt"/>
                <a:cs typeface="Arial" panose="020B0604020202020204" pitchFamily="34" charset="0"/>
              </a:rPr>
              <a:t>Capgemini’s Global Utilities Sector | June</a:t>
            </a:r>
            <a:r>
              <a:rPr lang="en-US" sz="800" kern="0" baseline="0" dirty="0">
                <a:solidFill>
                  <a:srgbClr val="00458D"/>
                </a:solidFill>
                <a:latin typeface="+mj-lt"/>
                <a:cs typeface="Arial" panose="020B0604020202020204" pitchFamily="34" charset="0"/>
              </a:rPr>
              <a:t> 2018</a:t>
            </a:r>
            <a:endParaRPr lang="en-US" sz="800" kern="0" dirty="0">
              <a:solidFill>
                <a:srgbClr val="00458D"/>
              </a:solidFill>
              <a:latin typeface="+mj-lt"/>
              <a:cs typeface="Arial" panose="020B0604020202020204" pitchFamily="34" charset="0"/>
            </a:endParaRP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3061405" y="6555758"/>
            <a:ext cx="2223686" cy="219456"/>
          </a:xfrm>
          <a:prstGeom prst="rect">
            <a:avLst/>
          </a:prstGeom>
        </p:spPr>
        <p:txBody>
          <a:bodyPr wrap="none" lIns="0" tIns="0" rIns="0" bIns="0" anchor="ctr">
            <a:noAutofit/>
          </a:bodyPr>
          <a:lstStyle/>
          <a:p>
            <a:pPr algn="l">
              <a:lnSpc>
                <a:spcPct val="100000"/>
              </a:lnSpc>
            </a:pPr>
            <a:r>
              <a:rPr lang="en-US" sz="800" dirty="0">
                <a:solidFill>
                  <a:schemeClr val="bg2">
                    <a:lumMod val="50000"/>
                  </a:schemeClr>
                </a:solidFill>
                <a:cs typeface="Arial" panose="020B0604020202020204" pitchFamily="34" charset="0"/>
              </a:rPr>
              <a:t>© 2018 Capgemini. All rights reserved.</a:t>
            </a:r>
          </a:p>
        </p:txBody>
      </p:sp>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37891717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able of Content-Agenda">
    <p:bg>
      <p:bgPr>
        <a:solidFill>
          <a:srgbClr val="EDEDED"/>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0" y="1"/>
          <a:ext cx="195384" cy="158751"/>
        </p:xfrm>
        <a:graphic>
          <a:graphicData uri="http://schemas.openxmlformats.org/presentationml/2006/ole">
            <mc:AlternateContent xmlns:mc="http://schemas.openxmlformats.org/markup-compatibility/2006">
              <mc:Choice xmlns:v="urn:schemas-microsoft-com:vml" Requires="v">
                <p:oleObj spid="_x0000_s3074" name="think-cell Slide" r:id="rId4" imgW="360" imgH="360" progId="">
                  <p:embed/>
                </p:oleObj>
              </mc:Choice>
              <mc:Fallback>
                <p:oleObj name="think-cell Slide" r:id="rId4" imgW="360" imgH="360" progId="">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Freeform 7"/>
          <p:cNvSpPr/>
          <p:nvPr userDrawn="1"/>
        </p:nvSpPr>
        <p:spPr>
          <a:xfrm flipH="1">
            <a:off x="0" y="-9891"/>
            <a:ext cx="7920493" cy="2767627"/>
          </a:xfrm>
          <a:custGeom>
            <a:avLst/>
            <a:gdLst>
              <a:gd name="connsiteX0" fmla="*/ 0 w 5970850"/>
              <a:gd name="connsiteY0" fmla="*/ 0 h 2083136"/>
              <a:gd name="connsiteX1" fmla="*/ 5970850 w 5970850"/>
              <a:gd name="connsiteY1" fmla="*/ 0 h 2083136"/>
              <a:gd name="connsiteX2" fmla="*/ 5970850 w 5970850"/>
              <a:gd name="connsiteY2" fmla="*/ 726675 h 2083136"/>
              <a:gd name="connsiteX3" fmla="*/ 4614389 w 5970850"/>
              <a:gd name="connsiteY3" fmla="*/ 2083136 h 2083136"/>
              <a:gd name="connsiteX4" fmla="*/ 0 w 5970850"/>
              <a:gd name="connsiteY4" fmla="*/ 0 h 2083136"/>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70850"/>
              <a:gd name="connsiteY0" fmla="*/ 0 h 2088795"/>
              <a:gd name="connsiteX1" fmla="*/ 5970850 w 5970850"/>
              <a:gd name="connsiteY1" fmla="*/ 0 h 2088795"/>
              <a:gd name="connsiteX2" fmla="*/ 5970850 w 5970850"/>
              <a:gd name="connsiteY2" fmla="*/ 726675 h 2088795"/>
              <a:gd name="connsiteX3" fmla="*/ 4568669 w 5970850"/>
              <a:gd name="connsiteY3" fmla="*/ 2086946 h 2088795"/>
              <a:gd name="connsiteX4" fmla="*/ 0 w 5970850"/>
              <a:gd name="connsiteY4" fmla="*/ 0 h 2088795"/>
              <a:gd name="connsiteX0" fmla="*/ 0 w 5970850"/>
              <a:gd name="connsiteY0" fmla="*/ 0 h 2088947"/>
              <a:gd name="connsiteX1" fmla="*/ 5970850 w 5970850"/>
              <a:gd name="connsiteY1" fmla="*/ 0 h 2088947"/>
              <a:gd name="connsiteX2" fmla="*/ 5970850 w 5970850"/>
              <a:gd name="connsiteY2" fmla="*/ 726675 h 2088947"/>
              <a:gd name="connsiteX3" fmla="*/ 4568669 w 5970850"/>
              <a:gd name="connsiteY3" fmla="*/ 2086946 h 2088947"/>
              <a:gd name="connsiteX4" fmla="*/ 0 w 5970850"/>
              <a:gd name="connsiteY4" fmla="*/ 0 h 2088947"/>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25130"/>
              <a:gd name="connsiteY0" fmla="*/ 0 h 2086946"/>
              <a:gd name="connsiteX1" fmla="*/ 5925130 w 5925130"/>
              <a:gd name="connsiteY1" fmla="*/ 0 h 2086946"/>
              <a:gd name="connsiteX2" fmla="*/ 5925130 w 5925130"/>
              <a:gd name="connsiteY2" fmla="*/ 726675 h 2086946"/>
              <a:gd name="connsiteX3" fmla="*/ 4522949 w 5925130"/>
              <a:gd name="connsiteY3" fmla="*/ 2086946 h 2086946"/>
              <a:gd name="connsiteX4" fmla="*/ 0 w 5925130"/>
              <a:gd name="connsiteY4" fmla="*/ 0 h 2086946"/>
              <a:gd name="connsiteX0" fmla="*/ 0 w 5940370"/>
              <a:gd name="connsiteY0" fmla="*/ 0 h 2086946"/>
              <a:gd name="connsiteX1" fmla="*/ 5940370 w 5940370"/>
              <a:gd name="connsiteY1" fmla="*/ 0 h 2086946"/>
              <a:gd name="connsiteX2" fmla="*/ 5940370 w 5940370"/>
              <a:gd name="connsiteY2" fmla="*/ 726675 h 2086946"/>
              <a:gd name="connsiteX3" fmla="*/ 4538189 w 5940370"/>
              <a:gd name="connsiteY3" fmla="*/ 2086946 h 2086946"/>
              <a:gd name="connsiteX4" fmla="*/ 0 w 5940370"/>
              <a:gd name="connsiteY4" fmla="*/ 0 h 2086946"/>
              <a:gd name="connsiteX0" fmla="*/ 0 w 5940370"/>
              <a:gd name="connsiteY0" fmla="*/ 0 h 2086946"/>
              <a:gd name="connsiteX1" fmla="*/ 5940370 w 5940370"/>
              <a:gd name="connsiteY1" fmla="*/ 0 h 2086946"/>
              <a:gd name="connsiteX2" fmla="*/ 5940370 w 5940370"/>
              <a:gd name="connsiteY2" fmla="*/ 726675 h 2086946"/>
              <a:gd name="connsiteX3" fmla="*/ 4538189 w 5940370"/>
              <a:gd name="connsiteY3" fmla="*/ 2086946 h 2086946"/>
              <a:gd name="connsiteX4" fmla="*/ 0 w 5940370"/>
              <a:gd name="connsiteY4" fmla="*/ 0 h 2086946"/>
              <a:gd name="connsiteX0" fmla="*/ 0 w 5940370"/>
              <a:gd name="connsiteY0" fmla="*/ 0 h 2075516"/>
              <a:gd name="connsiteX1" fmla="*/ 5940370 w 5940370"/>
              <a:gd name="connsiteY1" fmla="*/ 0 h 2075516"/>
              <a:gd name="connsiteX2" fmla="*/ 5940370 w 5940370"/>
              <a:gd name="connsiteY2" fmla="*/ 726675 h 2075516"/>
              <a:gd name="connsiteX3" fmla="*/ 4583909 w 5940370"/>
              <a:gd name="connsiteY3" fmla="*/ 2075516 h 2075516"/>
              <a:gd name="connsiteX4" fmla="*/ 0 w 5940370"/>
              <a:gd name="connsiteY4" fmla="*/ 0 h 2075516"/>
              <a:gd name="connsiteX0" fmla="*/ 0 w 5940370"/>
              <a:gd name="connsiteY0" fmla="*/ 0 h 2075528"/>
              <a:gd name="connsiteX1" fmla="*/ 5940370 w 5940370"/>
              <a:gd name="connsiteY1" fmla="*/ 0 h 2075528"/>
              <a:gd name="connsiteX2" fmla="*/ 5940370 w 5940370"/>
              <a:gd name="connsiteY2" fmla="*/ 726675 h 2075528"/>
              <a:gd name="connsiteX3" fmla="*/ 458390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8390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6866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6866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68669 w 5940370"/>
              <a:gd name="connsiteY3" fmla="*/ 2075516 h 2075528"/>
              <a:gd name="connsiteX4" fmla="*/ 0 w 5940370"/>
              <a:gd name="connsiteY4" fmla="*/ 0 h 2075528"/>
              <a:gd name="connsiteX0" fmla="*/ 0 w 5940370"/>
              <a:gd name="connsiteY0" fmla="*/ 0 h 2075720"/>
              <a:gd name="connsiteX1" fmla="*/ 5940370 w 5940370"/>
              <a:gd name="connsiteY1" fmla="*/ 0 h 2075720"/>
              <a:gd name="connsiteX2" fmla="*/ 5940370 w 5940370"/>
              <a:gd name="connsiteY2" fmla="*/ 726675 h 2075720"/>
              <a:gd name="connsiteX3" fmla="*/ 4568669 w 5940370"/>
              <a:gd name="connsiteY3" fmla="*/ 2075516 h 2075720"/>
              <a:gd name="connsiteX4" fmla="*/ 0 w 5940370"/>
              <a:gd name="connsiteY4" fmla="*/ 0 h 2075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40370" h="2075720">
                <a:moveTo>
                  <a:pt x="0" y="0"/>
                </a:moveTo>
                <a:lnTo>
                  <a:pt x="5940370" y="0"/>
                </a:lnTo>
                <a:lnTo>
                  <a:pt x="5940370" y="726675"/>
                </a:lnTo>
                <a:cubicBezTo>
                  <a:pt x="5831116" y="1256299"/>
                  <a:pt x="5573273" y="2090722"/>
                  <a:pt x="4568669" y="2075516"/>
                </a:cubicBezTo>
                <a:cubicBezTo>
                  <a:pt x="4051619" y="1166507"/>
                  <a:pt x="585630" y="1659579"/>
                  <a:pt x="0"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Arial" pitchFamily="34" charset="0"/>
              <a:cs typeface="Arial" pitchFamily="34" charset="0"/>
            </a:endParaRPr>
          </a:p>
        </p:txBody>
      </p:sp>
      <p:sp>
        <p:nvSpPr>
          <p:cNvPr id="12" name="Title Placeholder 1"/>
          <p:cNvSpPr>
            <a:spLocks noGrp="1"/>
          </p:cNvSpPr>
          <p:nvPr>
            <p:ph type="title"/>
          </p:nvPr>
        </p:nvSpPr>
        <p:spPr>
          <a:xfrm>
            <a:off x="5" y="33684"/>
            <a:ext cx="6255023" cy="1097280"/>
          </a:xfrm>
          <a:prstGeom prst="rect">
            <a:avLst/>
          </a:prstGeom>
          <a:noFill/>
          <a:ln w="9525" algn="ctr">
            <a:noFill/>
            <a:miter lim="800000"/>
            <a:headEnd/>
            <a:tailEnd/>
          </a:ln>
          <a:effectLst/>
        </p:spPr>
        <p:txBody>
          <a:bodyPr vert="horz" wrap="square" lIns="274320" tIns="36576" rIns="0" bIns="0" numCol="1" anchor="ctr" anchorCtr="0" compatLnSpc="1">
            <a:prstTxWarp prst="textNoShape">
              <a:avLst/>
            </a:prstTxWarp>
          </a:bodyPr>
          <a:lstStyle>
            <a:lvl1pPr>
              <a:defRPr b="0">
                <a:solidFill>
                  <a:schemeClr val="bg1"/>
                </a:solidFill>
                <a:effectLst/>
                <a:latin typeface="Verdana" panose="020B0604030504040204" pitchFamily="34" charset="0"/>
                <a:ea typeface="Verdana" panose="020B0604030504040204" pitchFamily="34" charset="0"/>
                <a:cs typeface="Verdana" panose="020B0604030504040204" pitchFamily="34" charset="0"/>
              </a:defRPr>
            </a:lvl1pPr>
          </a:lstStyle>
          <a:p>
            <a:r>
              <a:rPr lang="en-US" dirty="0"/>
              <a:t>Click to edit Master title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lnSpc>
                <a:spcPct val="100000"/>
              </a:lnSpc>
            </a:pPr>
            <a:fld id="{0502E5A9-B53C-401E-A0E0-4A359BB0A9E5}" type="slidenum">
              <a:rPr lang="en-US" sz="800" smtClean="0">
                <a:solidFill>
                  <a:prstClr val="black">
                    <a:lumMod val="50000"/>
                    <a:lumOff val="50000"/>
                  </a:prstClr>
                </a:solidFill>
                <a:cs typeface="Arial" panose="020B0604020202020204" pitchFamily="34" charset="0"/>
              </a:rPr>
              <a:pPr algn="r">
                <a:lnSpc>
                  <a:spcPct val="100000"/>
                </a:lnSpc>
              </a:pPr>
              <a:t>‹#›</a:t>
            </a:fld>
            <a:endParaRPr lang="en-US" sz="800" dirty="0">
              <a:solidFill>
                <a:prstClr val="black">
                  <a:lumMod val="50000"/>
                  <a:lumOff val="50000"/>
                </a:prstClr>
              </a:solidFill>
              <a:cs typeface="Arial" panose="020B0604020202020204" pitchFamily="34" charset="0"/>
            </a:endParaRPr>
          </a:p>
        </p:txBody>
      </p:sp>
      <p:pic>
        <p:nvPicPr>
          <p:cNvPr id="7"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81836" t="-4713" b="16530"/>
          <a:stretch/>
        </p:blipFill>
        <p:spPr>
          <a:xfrm>
            <a:off x="11547793" y="188640"/>
            <a:ext cx="424356" cy="459624"/>
          </a:xfrm>
          <a:prstGeom prst="rect">
            <a:avLst/>
          </a:prstGeom>
        </p:spPr>
      </p:pic>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cxnSp>
        <p:nvCxnSpPr>
          <p:cNvPr id="12" name="Conector reto 49">
            <a:extLst>
              <a:ext uri="{FF2B5EF4-FFF2-40B4-BE49-F238E27FC236}">
                <a16:creationId xmlns:a16="http://schemas.microsoft.com/office/drawing/2014/main" id="{EAEA0A7B-769B-466A-9EBF-AF797D154E37}"/>
              </a:ext>
            </a:extLst>
          </p:cNvPr>
          <p:cNvCxnSpPr>
            <a:cxnSpLocks/>
          </p:cNvCxnSpPr>
          <p:nvPr userDrawn="1"/>
        </p:nvCxnSpPr>
        <p:spPr>
          <a:xfrm flipV="1">
            <a:off x="293370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4"/>
            <a:extLst>
              <a:ext uri="{FF2B5EF4-FFF2-40B4-BE49-F238E27FC236}">
                <a16:creationId xmlns:a16="http://schemas.microsoft.com/office/drawing/2014/main" id="{02A3263F-2DEA-4672-B931-2D8A96AECD30}"/>
              </a:ext>
            </a:extLst>
          </p:cNvPr>
          <p:cNvSpPr/>
          <p:nvPr userDrawn="1"/>
        </p:nvSpPr>
        <p:spPr>
          <a:xfrm>
            <a:off x="407988" y="6555971"/>
            <a:ext cx="2468880" cy="219456"/>
          </a:xfrm>
          <a:prstGeom prst="rect">
            <a:avLst/>
          </a:prstGeom>
        </p:spPr>
        <p:txBody>
          <a:bodyPr wrap="square" lIns="0" tIns="0" rIns="0" bIns="0" anchor="ctr" anchorCtr="0">
            <a:noAutofit/>
          </a:bodyPr>
          <a:lstStyle/>
          <a:p>
            <a:pPr lvl="0" algn="l" defTabSz="914400">
              <a:lnSpc>
                <a:spcPct val="100000"/>
              </a:lnSpc>
              <a:defRPr/>
            </a:pPr>
            <a:r>
              <a:rPr lang="en-US" sz="800" kern="0" dirty="0">
                <a:solidFill>
                  <a:srgbClr val="00458D"/>
                </a:solidFill>
                <a:latin typeface="+mj-lt"/>
                <a:cs typeface="Arial" panose="020B0604020202020204" pitchFamily="34" charset="0"/>
              </a:rPr>
              <a:t>Capgemini’s Global Utilities Sector | June</a:t>
            </a:r>
            <a:r>
              <a:rPr lang="en-US" sz="800" kern="0" baseline="0" dirty="0">
                <a:solidFill>
                  <a:srgbClr val="00458D"/>
                </a:solidFill>
                <a:latin typeface="+mj-lt"/>
                <a:cs typeface="Arial" panose="020B0604020202020204" pitchFamily="34" charset="0"/>
              </a:rPr>
              <a:t> 2018</a:t>
            </a:r>
            <a:endParaRPr lang="en-US" sz="800" kern="0" dirty="0">
              <a:solidFill>
                <a:srgbClr val="00458D"/>
              </a:solidFill>
              <a:latin typeface="+mj-lt"/>
              <a:cs typeface="Arial" panose="020B0604020202020204" pitchFamily="34" charset="0"/>
            </a:endParaRPr>
          </a:p>
        </p:txBody>
      </p:sp>
      <p:sp>
        <p:nvSpPr>
          <p:cNvPr id="14" name="Retângulo 43">
            <a:extLst>
              <a:ext uri="{FF2B5EF4-FFF2-40B4-BE49-F238E27FC236}">
                <a16:creationId xmlns:a16="http://schemas.microsoft.com/office/drawing/2014/main" id="{EA52D0BA-86AE-4DF8-ADC0-9E9665B9F707}"/>
              </a:ext>
            </a:extLst>
          </p:cNvPr>
          <p:cNvSpPr/>
          <p:nvPr userDrawn="1"/>
        </p:nvSpPr>
        <p:spPr>
          <a:xfrm>
            <a:off x="3061405" y="6555758"/>
            <a:ext cx="2223686" cy="219456"/>
          </a:xfrm>
          <a:prstGeom prst="rect">
            <a:avLst/>
          </a:prstGeom>
        </p:spPr>
        <p:txBody>
          <a:bodyPr wrap="none" lIns="0" tIns="0" rIns="0" bIns="0" anchor="ctr">
            <a:noAutofit/>
          </a:bodyPr>
          <a:lstStyle/>
          <a:p>
            <a:pPr algn="l">
              <a:lnSpc>
                <a:spcPct val="100000"/>
              </a:lnSpc>
            </a:pPr>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426890396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rgbClr val="FCFC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lnSpc>
                <a:spcPct val="100000"/>
              </a:lnSpc>
            </a:pPr>
            <a:fld id="{0502E5A9-B53C-401E-A0E0-4A359BB0A9E5}" type="slidenum">
              <a:rPr lang="en-US" sz="800" smtClean="0">
                <a:solidFill>
                  <a:prstClr val="black">
                    <a:lumMod val="50000"/>
                    <a:lumOff val="50000"/>
                  </a:prstClr>
                </a:solidFill>
                <a:cs typeface="Arial" panose="020B0604020202020204" pitchFamily="34" charset="0"/>
              </a:rPr>
              <a:pPr algn="r">
                <a:lnSpc>
                  <a:spcPct val="100000"/>
                </a:lnSpc>
              </a:pPr>
              <a:t>‹#›</a:t>
            </a:fld>
            <a:endParaRPr lang="en-US" sz="800" dirty="0">
              <a:solidFill>
                <a:prstClr val="black">
                  <a:lumMod val="50000"/>
                  <a:lumOff val="50000"/>
                </a:prstClr>
              </a:solidFill>
              <a:cs typeface="Arial" panose="020B0604020202020204" pitchFamily="34" charset="0"/>
            </a:endParaRPr>
          </a:p>
        </p:txBody>
      </p:sp>
      <p:pic>
        <p:nvPicPr>
          <p:cNvPr id="7"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81836" t="-4713" b="16530"/>
          <a:stretch/>
        </p:blipFill>
        <p:spPr>
          <a:xfrm>
            <a:off x="11547793" y="188640"/>
            <a:ext cx="424356" cy="459624"/>
          </a:xfrm>
          <a:prstGeom prst="rect">
            <a:avLst/>
          </a:prstGeom>
        </p:spPr>
      </p:pic>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cxnSp>
        <p:nvCxnSpPr>
          <p:cNvPr id="12" name="Conector reto 49">
            <a:extLst>
              <a:ext uri="{FF2B5EF4-FFF2-40B4-BE49-F238E27FC236}">
                <a16:creationId xmlns:a16="http://schemas.microsoft.com/office/drawing/2014/main" id="{A06AF8C6-5AAC-4B83-940F-028B08685762}"/>
              </a:ext>
            </a:extLst>
          </p:cNvPr>
          <p:cNvCxnSpPr>
            <a:cxnSpLocks/>
          </p:cNvCxnSpPr>
          <p:nvPr userDrawn="1"/>
        </p:nvCxnSpPr>
        <p:spPr>
          <a:xfrm flipV="1">
            <a:off x="293370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4"/>
            <a:extLst>
              <a:ext uri="{FF2B5EF4-FFF2-40B4-BE49-F238E27FC236}">
                <a16:creationId xmlns:a16="http://schemas.microsoft.com/office/drawing/2014/main" id="{C10E2442-7BD7-40DE-88ED-16E1AC085D24}"/>
              </a:ext>
            </a:extLst>
          </p:cNvPr>
          <p:cNvSpPr/>
          <p:nvPr userDrawn="1"/>
        </p:nvSpPr>
        <p:spPr>
          <a:xfrm>
            <a:off x="407988" y="6555971"/>
            <a:ext cx="2468880" cy="219456"/>
          </a:xfrm>
          <a:prstGeom prst="rect">
            <a:avLst/>
          </a:prstGeom>
        </p:spPr>
        <p:txBody>
          <a:bodyPr wrap="square" lIns="0" tIns="0" rIns="0" bIns="0" anchor="ctr" anchorCtr="0">
            <a:noAutofit/>
          </a:bodyPr>
          <a:lstStyle/>
          <a:p>
            <a:pPr lvl="0" algn="l" defTabSz="914400">
              <a:lnSpc>
                <a:spcPct val="100000"/>
              </a:lnSpc>
              <a:defRPr/>
            </a:pPr>
            <a:r>
              <a:rPr lang="en-US" sz="800" kern="0" dirty="0">
                <a:solidFill>
                  <a:srgbClr val="00458D"/>
                </a:solidFill>
                <a:latin typeface="+mj-lt"/>
                <a:cs typeface="Arial" panose="020B0604020202020204" pitchFamily="34" charset="0"/>
              </a:rPr>
              <a:t>Capgemini’s Global Utilities Sector | June</a:t>
            </a:r>
            <a:r>
              <a:rPr lang="en-US" sz="800" kern="0" baseline="0" dirty="0">
                <a:solidFill>
                  <a:srgbClr val="00458D"/>
                </a:solidFill>
                <a:latin typeface="+mj-lt"/>
                <a:cs typeface="Arial" panose="020B0604020202020204" pitchFamily="34" charset="0"/>
              </a:rPr>
              <a:t> 2018</a:t>
            </a:r>
            <a:endParaRPr lang="en-US" sz="800" kern="0" dirty="0">
              <a:solidFill>
                <a:srgbClr val="00458D"/>
              </a:solidFill>
              <a:latin typeface="+mj-lt"/>
              <a:cs typeface="Arial" panose="020B0604020202020204" pitchFamily="34" charset="0"/>
            </a:endParaRPr>
          </a:p>
        </p:txBody>
      </p:sp>
      <p:sp>
        <p:nvSpPr>
          <p:cNvPr id="14" name="Retângulo 43">
            <a:extLst>
              <a:ext uri="{FF2B5EF4-FFF2-40B4-BE49-F238E27FC236}">
                <a16:creationId xmlns:a16="http://schemas.microsoft.com/office/drawing/2014/main" id="{8D224528-298A-4D45-AAF0-DC3F758BB299}"/>
              </a:ext>
            </a:extLst>
          </p:cNvPr>
          <p:cNvSpPr/>
          <p:nvPr userDrawn="1"/>
        </p:nvSpPr>
        <p:spPr>
          <a:xfrm>
            <a:off x="3061405" y="6555758"/>
            <a:ext cx="2223686" cy="219456"/>
          </a:xfrm>
          <a:prstGeom prst="rect">
            <a:avLst/>
          </a:prstGeom>
        </p:spPr>
        <p:txBody>
          <a:bodyPr wrap="none" lIns="0" tIns="0" rIns="0" bIns="0" anchor="ctr">
            <a:noAutofit/>
          </a:bodyPr>
          <a:lstStyle/>
          <a:p>
            <a:pPr algn="l">
              <a:lnSpc>
                <a:spcPct val="100000"/>
              </a:lnSpc>
            </a:pPr>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300157602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lnSpc>
                <a:spcPct val="100000"/>
              </a:lnSpc>
            </a:pPr>
            <a:fld id="{0502E5A9-B53C-401E-A0E0-4A359BB0A9E5}" type="slidenum">
              <a:rPr lang="en-US" sz="800" smtClean="0">
                <a:solidFill>
                  <a:prstClr val="black">
                    <a:lumMod val="50000"/>
                    <a:lumOff val="50000"/>
                  </a:prstClr>
                </a:solidFill>
                <a:cs typeface="Arial" panose="020B0604020202020204" pitchFamily="34" charset="0"/>
              </a:rPr>
              <a:pPr algn="r">
                <a:lnSpc>
                  <a:spcPct val="100000"/>
                </a:lnSpc>
              </a:pPr>
              <a:t>‹#›</a:t>
            </a:fld>
            <a:endParaRPr lang="en-US" sz="800" dirty="0">
              <a:solidFill>
                <a:prstClr val="black">
                  <a:lumMod val="50000"/>
                  <a:lumOff val="50000"/>
                </a:prstClr>
              </a:solidFill>
              <a:cs typeface="Arial" panose="020B0604020202020204" pitchFamily="34" charset="0"/>
            </a:endParaRPr>
          </a:p>
        </p:txBody>
      </p:sp>
      <p:pic>
        <p:nvPicPr>
          <p:cNvPr id="7"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81836" t="-4713" b="16530"/>
          <a:stretch/>
        </p:blipFill>
        <p:spPr>
          <a:xfrm>
            <a:off x="11547793" y="188640"/>
            <a:ext cx="424356" cy="459624"/>
          </a:xfrm>
          <a:prstGeom prst="rect">
            <a:avLst/>
          </a:prstGeom>
        </p:spPr>
      </p:pic>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cxnSp>
        <p:nvCxnSpPr>
          <p:cNvPr id="12" name="Conector reto 49">
            <a:extLst>
              <a:ext uri="{FF2B5EF4-FFF2-40B4-BE49-F238E27FC236}">
                <a16:creationId xmlns:a16="http://schemas.microsoft.com/office/drawing/2014/main" id="{631DFCF6-EA14-4FEC-8E0F-0099215BF412}"/>
              </a:ext>
            </a:extLst>
          </p:cNvPr>
          <p:cNvCxnSpPr>
            <a:cxnSpLocks/>
          </p:cNvCxnSpPr>
          <p:nvPr userDrawn="1"/>
        </p:nvCxnSpPr>
        <p:spPr>
          <a:xfrm flipV="1">
            <a:off x="293370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4"/>
            <a:extLst>
              <a:ext uri="{FF2B5EF4-FFF2-40B4-BE49-F238E27FC236}">
                <a16:creationId xmlns:a16="http://schemas.microsoft.com/office/drawing/2014/main" id="{B7C8F660-5F1C-41AC-9F6E-3271F0BF0E6D}"/>
              </a:ext>
            </a:extLst>
          </p:cNvPr>
          <p:cNvSpPr/>
          <p:nvPr userDrawn="1"/>
        </p:nvSpPr>
        <p:spPr>
          <a:xfrm>
            <a:off x="407988" y="6555971"/>
            <a:ext cx="2468880" cy="219456"/>
          </a:xfrm>
          <a:prstGeom prst="rect">
            <a:avLst/>
          </a:prstGeom>
        </p:spPr>
        <p:txBody>
          <a:bodyPr wrap="square" lIns="0" tIns="0" rIns="0" bIns="0" anchor="ctr" anchorCtr="0">
            <a:noAutofit/>
          </a:bodyPr>
          <a:lstStyle/>
          <a:p>
            <a:pPr lvl="0" algn="l" defTabSz="914400">
              <a:lnSpc>
                <a:spcPct val="100000"/>
              </a:lnSpc>
              <a:defRPr/>
            </a:pPr>
            <a:r>
              <a:rPr lang="en-US" sz="800" kern="0" dirty="0">
                <a:solidFill>
                  <a:srgbClr val="00458D"/>
                </a:solidFill>
                <a:latin typeface="+mj-lt"/>
                <a:cs typeface="Arial" panose="020B0604020202020204" pitchFamily="34" charset="0"/>
              </a:rPr>
              <a:t>Capgemini’s Global Utilities Sector | June</a:t>
            </a:r>
            <a:r>
              <a:rPr lang="en-US" sz="800" kern="0" baseline="0" dirty="0">
                <a:solidFill>
                  <a:srgbClr val="00458D"/>
                </a:solidFill>
                <a:latin typeface="+mj-lt"/>
                <a:cs typeface="Arial" panose="020B0604020202020204" pitchFamily="34" charset="0"/>
              </a:rPr>
              <a:t> 2018</a:t>
            </a:r>
            <a:endParaRPr lang="en-US" sz="800" kern="0" dirty="0">
              <a:solidFill>
                <a:srgbClr val="00458D"/>
              </a:solidFill>
              <a:latin typeface="+mj-lt"/>
              <a:cs typeface="Arial" panose="020B0604020202020204" pitchFamily="34" charset="0"/>
            </a:endParaRPr>
          </a:p>
        </p:txBody>
      </p:sp>
      <p:sp>
        <p:nvSpPr>
          <p:cNvPr id="14" name="Retângulo 43">
            <a:extLst>
              <a:ext uri="{FF2B5EF4-FFF2-40B4-BE49-F238E27FC236}">
                <a16:creationId xmlns:a16="http://schemas.microsoft.com/office/drawing/2014/main" id="{2BDDA80B-70B2-4CB3-AF22-A2F5C095E221}"/>
              </a:ext>
            </a:extLst>
          </p:cNvPr>
          <p:cNvSpPr/>
          <p:nvPr userDrawn="1"/>
        </p:nvSpPr>
        <p:spPr>
          <a:xfrm>
            <a:off x="3061405" y="6555758"/>
            <a:ext cx="2223686" cy="219456"/>
          </a:xfrm>
          <a:prstGeom prst="rect">
            <a:avLst/>
          </a:prstGeom>
        </p:spPr>
        <p:txBody>
          <a:bodyPr wrap="none" lIns="0" tIns="0" rIns="0" bIns="0" anchor="ctr">
            <a:noAutofit/>
          </a:bodyPr>
          <a:lstStyle/>
          <a:p>
            <a:pPr algn="l">
              <a:lnSpc>
                <a:spcPct val="100000"/>
              </a:lnSpc>
            </a:pPr>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59606154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lnSpc>
                <a:spcPct val="100000"/>
              </a:lnSpc>
            </a:pPr>
            <a:fld id="{0502E5A9-B53C-401E-A0E0-4A359BB0A9E5}" type="slidenum">
              <a:rPr lang="en-US" sz="800" smtClean="0">
                <a:solidFill>
                  <a:prstClr val="black">
                    <a:lumMod val="50000"/>
                    <a:lumOff val="50000"/>
                  </a:prstClr>
                </a:solidFill>
                <a:cs typeface="Arial" panose="020B0604020202020204" pitchFamily="34" charset="0"/>
              </a:rPr>
              <a:pPr algn="r">
                <a:lnSpc>
                  <a:spcPct val="100000"/>
                </a:lnSpc>
              </a:pPr>
              <a:t>‹#›</a:t>
            </a:fld>
            <a:endParaRPr lang="en-US" sz="800" dirty="0">
              <a:solidFill>
                <a:prstClr val="black">
                  <a:lumMod val="50000"/>
                  <a:lumOff val="50000"/>
                </a:prstClr>
              </a:solidFill>
              <a:cs typeface="Arial" panose="020B0604020202020204" pitchFamily="34" charset="0"/>
            </a:endParaRPr>
          </a:p>
        </p:txBody>
      </p:sp>
      <p:pic>
        <p:nvPicPr>
          <p:cNvPr id="7"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81836" t="-4713" b="16530"/>
          <a:stretch/>
        </p:blipFill>
        <p:spPr>
          <a:xfrm>
            <a:off x="11547793" y="188640"/>
            <a:ext cx="424356" cy="459624"/>
          </a:xfrm>
          <a:prstGeom prst="rect">
            <a:avLst/>
          </a:prstGeom>
        </p:spPr>
      </p:pic>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1" name="Freeform: Shape 20">
            <a:extLst>
              <a:ext uri="{FF2B5EF4-FFF2-40B4-BE49-F238E27FC236}">
                <a16:creationId xmlns:a16="http://schemas.microsoft.com/office/drawing/2014/main" id="{E37BF251-5470-46EB-8361-E61F79A3A83F}"/>
              </a:ext>
            </a:extLst>
          </p:cNvPr>
          <p:cNvSpPr>
            <a:spLocks/>
          </p:cNvSpPr>
          <p:nvPr userDrawn="1"/>
        </p:nvSpPr>
        <p:spPr bwMode="auto">
          <a:xfrm rot="5400000" flipV="1">
            <a:off x="496445" y="-496448"/>
            <a:ext cx="6862135" cy="7855027"/>
          </a:xfrm>
          <a:custGeom>
            <a:avLst/>
            <a:gdLst>
              <a:gd name="connsiteX0" fmla="*/ 0 w 6858000"/>
              <a:gd name="connsiteY0" fmla="*/ 0 h 7850294"/>
              <a:gd name="connsiteX1" fmla="*/ 0 w 6858000"/>
              <a:gd name="connsiteY1" fmla="*/ 330200 h 7850294"/>
              <a:gd name="connsiteX2" fmla="*/ 1 w 6858000"/>
              <a:gd name="connsiteY2" fmla="*/ 330200 h 7850294"/>
              <a:gd name="connsiteX3" fmla="*/ 1 w 6858000"/>
              <a:gd name="connsiteY3" fmla="*/ 6062251 h 7850294"/>
              <a:gd name="connsiteX4" fmla="*/ 137394 w 6858000"/>
              <a:gd name="connsiteY4" fmla="*/ 6287174 h 7850294"/>
              <a:gd name="connsiteX5" fmla="*/ 2680644 w 6858000"/>
              <a:gd name="connsiteY5" fmla="*/ 7849589 h 7850294"/>
              <a:gd name="connsiteX6" fmla="*/ 5415361 w 6858000"/>
              <a:gd name="connsiteY6" fmla="*/ 5295479 h 7850294"/>
              <a:gd name="connsiteX7" fmla="*/ 6599052 w 6858000"/>
              <a:gd name="connsiteY7" fmla="*/ 5530379 h 7850294"/>
              <a:gd name="connsiteX8" fmla="*/ 6858000 w 6858000"/>
              <a:gd name="connsiteY8" fmla="*/ 5601769 h 7850294"/>
              <a:gd name="connsiteX9" fmla="*/ 6858000 w 6858000"/>
              <a:gd name="connsiteY9" fmla="*/ 330200 h 7850294"/>
              <a:gd name="connsiteX10" fmla="*/ 6858000 w 6858000"/>
              <a:gd name="connsiteY10" fmla="*/ 266701 h 7850294"/>
              <a:gd name="connsiteX11" fmla="*/ 6858000 w 6858000"/>
              <a:gd name="connsiteY11" fmla="*/ 0 h 7850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858000" h="7850294">
                <a:moveTo>
                  <a:pt x="0" y="0"/>
                </a:moveTo>
                <a:lnTo>
                  <a:pt x="0" y="330200"/>
                </a:lnTo>
                <a:lnTo>
                  <a:pt x="1" y="330200"/>
                </a:lnTo>
                <a:lnTo>
                  <a:pt x="1" y="6062251"/>
                </a:lnTo>
                <a:lnTo>
                  <a:pt x="137394" y="6287174"/>
                </a:lnTo>
                <a:cubicBezTo>
                  <a:pt x="602681" y="7002758"/>
                  <a:pt x="1411961" y="7825777"/>
                  <a:pt x="2680644" y="7849589"/>
                </a:cubicBezTo>
                <a:cubicBezTo>
                  <a:pt x="4019810" y="7877811"/>
                  <a:pt x="4527283" y="7059367"/>
                  <a:pt x="5415361" y="5295479"/>
                </a:cubicBezTo>
                <a:cubicBezTo>
                  <a:pt x="5817111" y="5353687"/>
                  <a:pt x="6212913" y="5431739"/>
                  <a:pt x="6599052" y="5530379"/>
                </a:cubicBezTo>
                <a:lnTo>
                  <a:pt x="6858000" y="5601769"/>
                </a:lnTo>
                <a:lnTo>
                  <a:pt x="6858000" y="330200"/>
                </a:lnTo>
                <a:lnTo>
                  <a:pt x="6858000" y="266701"/>
                </a:lnTo>
                <a:lnTo>
                  <a:pt x="6858000" y="0"/>
                </a:lnTo>
                <a:close/>
              </a:path>
            </a:pathLst>
          </a:custGeom>
          <a:solidFill>
            <a:schemeClr val="accent2"/>
          </a:solidFill>
          <a:ln>
            <a:noFill/>
          </a:ln>
        </p:spPr>
        <p:txBody>
          <a:bodyPr vert="horz" wrap="square" lIns="91440" tIns="45720" rIns="91440" bIns="45720" numCol="1" anchor="t" anchorCtr="0" compatLnSpc="1">
            <a:prstTxWarp prst="textNoShape">
              <a:avLst/>
            </a:prstTxWarp>
            <a:noAutofit/>
          </a:bodyPr>
          <a:lstStyle/>
          <a:p>
            <a:endParaRPr lang="en-US" dirty="0"/>
          </a:p>
        </p:txBody>
      </p:sp>
      <p:cxnSp>
        <p:nvCxnSpPr>
          <p:cNvPr id="10" name="Conector reto 49">
            <a:extLst>
              <a:ext uri="{FF2B5EF4-FFF2-40B4-BE49-F238E27FC236}">
                <a16:creationId xmlns:a16="http://schemas.microsoft.com/office/drawing/2014/main" id="{8D641893-ACF7-4179-A63A-1F32F5212A9C}"/>
              </a:ext>
            </a:extLst>
          </p:cNvPr>
          <p:cNvCxnSpPr>
            <a:cxnSpLocks/>
          </p:cNvCxnSpPr>
          <p:nvPr userDrawn="1"/>
        </p:nvCxnSpPr>
        <p:spPr>
          <a:xfrm flipV="1">
            <a:off x="2933700"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4"/>
            <a:extLst>
              <a:ext uri="{FF2B5EF4-FFF2-40B4-BE49-F238E27FC236}">
                <a16:creationId xmlns:a16="http://schemas.microsoft.com/office/drawing/2014/main" id="{4DC51819-3085-440D-8C8A-C86B9FC49344}"/>
              </a:ext>
            </a:extLst>
          </p:cNvPr>
          <p:cNvSpPr/>
          <p:nvPr userDrawn="1"/>
        </p:nvSpPr>
        <p:spPr>
          <a:xfrm>
            <a:off x="407988" y="6555971"/>
            <a:ext cx="2468880" cy="219456"/>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bg1"/>
                </a:solidFill>
                <a:latin typeface="+mj-lt"/>
                <a:cs typeface="Arial" panose="020B0604020202020204" pitchFamily="34" charset="0"/>
              </a:rPr>
              <a:t>Capgemini’s Global Utilities Sector | June</a:t>
            </a:r>
            <a:r>
              <a:rPr lang="en-US" sz="800" kern="0" baseline="0" dirty="0">
                <a:solidFill>
                  <a:schemeClr val="bg1"/>
                </a:solidFill>
                <a:latin typeface="+mj-lt"/>
                <a:cs typeface="Arial" panose="020B0604020202020204" pitchFamily="34" charset="0"/>
              </a:rPr>
              <a:t> 2018</a:t>
            </a:r>
            <a:endParaRPr lang="en-US" sz="800" kern="0" dirty="0">
              <a:solidFill>
                <a:schemeClr val="bg1"/>
              </a:solidFill>
              <a:latin typeface="+mj-lt"/>
              <a:cs typeface="Arial" panose="020B0604020202020204" pitchFamily="34" charset="0"/>
            </a:endParaRPr>
          </a:p>
        </p:txBody>
      </p:sp>
      <p:sp>
        <p:nvSpPr>
          <p:cNvPr id="13" name="Retângulo 43">
            <a:extLst>
              <a:ext uri="{FF2B5EF4-FFF2-40B4-BE49-F238E27FC236}">
                <a16:creationId xmlns:a16="http://schemas.microsoft.com/office/drawing/2014/main" id="{E59777E9-D669-47F0-9F43-447F07567553}"/>
              </a:ext>
            </a:extLst>
          </p:cNvPr>
          <p:cNvSpPr/>
          <p:nvPr userDrawn="1"/>
        </p:nvSpPr>
        <p:spPr>
          <a:xfrm>
            <a:off x="3061405" y="6555758"/>
            <a:ext cx="2223686" cy="219456"/>
          </a:xfrm>
          <a:prstGeom prst="rect">
            <a:avLst/>
          </a:prstGeom>
        </p:spPr>
        <p:txBody>
          <a:bodyPr wrap="none" lIns="0" tIns="0" rIns="0" bIns="0" anchor="ctr">
            <a:noAutofit/>
          </a:bodyPr>
          <a:lstStyle/>
          <a:p>
            <a:pPr algn="l">
              <a:lnSpc>
                <a:spcPct val="100000"/>
              </a:lnSpc>
            </a:pPr>
            <a:r>
              <a:rPr lang="en-US" sz="800" dirty="0">
                <a:solidFill>
                  <a:schemeClr val="bg1"/>
                </a:solidFill>
                <a:cs typeface="Arial" panose="020B0604020202020204" pitchFamily="34" charset="0"/>
              </a:rPr>
              <a:t>© 2018 Capgemini. All rights reserved.</a:t>
            </a:r>
          </a:p>
        </p:txBody>
      </p:sp>
    </p:spTree>
    <p:extLst>
      <p:ext uri="{BB962C8B-B14F-4D97-AF65-F5344CB8AC3E}">
        <p14:creationId xmlns:p14="http://schemas.microsoft.com/office/powerpoint/2010/main" val="173691910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36" name="Rectangle 3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34" name="Text Placeholder 7">
            <a:extLst>
              <a:ext uri="{FF2B5EF4-FFF2-40B4-BE49-F238E27FC236}">
                <a16:creationId xmlns:a16="http://schemas.microsoft.com/office/drawing/2014/main" id="{A4F8F9B7-22AF-440B-AF0A-78B650932C21}"/>
              </a:ext>
            </a:extLst>
          </p:cNvPr>
          <p:cNvSpPr>
            <a:spLocks noGrp="1"/>
          </p:cNvSpPr>
          <p:nvPr>
            <p:ph type="body" sz="quarter" idx="32" hasCustomPrompt="1"/>
          </p:nvPr>
        </p:nvSpPr>
        <p:spPr>
          <a:xfrm>
            <a:off x="407988" y="1605558"/>
            <a:ext cx="5832475"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Text Placeholder 7">
            <a:extLst>
              <a:ext uri="{FF2B5EF4-FFF2-40B4-BE49-F238E27FC236}">
                <a16:creationId xmlns:a16="http://schemas.microsoft.com/office/drawing/2014/main" id="{9228FC83-C11D-47F2-8BDE-B10D125E5E87}"/>
              </a:ext>
            </a:extLst>
          </p:cNvPr>
          <p:cNvSpPr>
            <a:spLocks noGrp="1"/>
          </p:cNvSpPr>
          <p:nvPr>
            <p:ph type="body" sz="quarter" idx="41" hasCustomPrompt="1"/>
          </p:nvPr>
        </p:nvSpPr>
        <p:spPr>
          <a:xfrm>
            <a:off x="426488"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a16="http://schemas.microsoft.com/office/drawing/2014/main" id="{9228FC83-C11D-47F2-8BDE-B10D125E5E87}"/>
              </a:ext>
            </a:extLst>
          </p:cNvPr>
          <p:cNvSpPr>
            <a:spLocks noGrp="1"/>
          </p:cNvSpPr>
          <p:nvPr>
            <p:ph type="body" sz="quarter" idx="42" hasCustomPrompt="1"/>
          </p:nvPr>
        </p:nvSpPr>
        <p:spPr>
          <a:xfrm>
            <a:off x="3860688"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id="{9228FC83-C11D-47F2-8BDE-B10D125E5E87}"/>
              </a:ext>
            </a:extLst>
          </p:cNvPr>
          <p:cNvSpPr>
            <a:spLocks noGrp="1"/>
          </p:cNvSpPr>
          <p:nvPr>
            <p:ph type="body" sz="quarter" idx="43" hasCustomPrompt="1"/>
          </p:nvPr>
        </p:nvSpPr>
        <p:spPr>
          <a:xfrm>
            <a:off x="7294887"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81836" t="-4713" b="16530"/>
          <a:stretch/>
        </p:blipFill>
        <p:spPr>
          <a:xfrm>
            <a:off x="11547793" y="188640"/>
            <a:ext cx="424356" cy="459624"/>
          </a:xfrm>
          <a:prstGeom prst="rect">
            <a:avLst/>
          </a:prstGeom>
        </p:spPr>
      </p:pic>
      <p:sp>
        <p:nvSpPr>
          <p:cNvPr id="1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lnSpc>
                <a:spcPct val="100000"/>
              </a:lnSpc>
            </a:pPr>
            <a:fld id="{0502E5A9-B53C-401E-A0E0-4A359BB0A9E5}" type="slidenum">
              <a:rPr lang="en-US" sz="800" smtClean="0">
                <a:solidFill>
                  <a:prstClr val="black">
                    <a:lumMod val="50000"/>
                    <a:lumOff val="50000"/>
                  </a:prstClr>
                </a:solidFill>
                <a:cs typeface="Arial" panose="020B0604020202020204" pitchFamily="34" charset="0"/>
              </a:rPr>
              <a:pPr algn="r">
                <a:lnSpc>
                  <a:spcPct val="100000"/>
                </a:lnSpc>
              </a:p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5B49D2EE-299A-4105-8423-873254F4E8F6}"/>
              </a:ext>
            </a:extLst>
          </p:cNvPr>
          <p:cNvCxnSpPr>
            <a:cxnSpLocks/>
          </p:cNvCxnSpPr>
          <p:nvPr userDrawn="1"/>
        </p:nvCxnSpPr>
        <p:spPr>
          <a:xfrm flipV="1">
            <a:off x="293370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4"/>
            <a:extLst>
              <a:ext uri="{FF2B5EF4-FFF2-40B4-BE49-F238E27FC236}">
                <a16:creationId xmlns:a16="http://schemas.microsoft.com/office/drawing/2014/main" id="{B6634ADD-1993-4832-BE7E-7AA0D5282B6F}"/>
              </a:ext>
            </a:extLst>
          </p:cNvPr>
          <p:cNvSpPr/>
          <p:nvPr userDrawn="1"/>
        </p:nvSpPr>
        <p:spPr>
          <a:xfrm>
            <a:off x="407988" y="6555971"/>
            <a:ext cx="2468880" cy="219456"/>
          </a:xfrm>
          <a:prstGeom prst="rect">
            <a:avLst/>
          </a:prstGeom>
        </p:spPr>
        <p:txBody>
          <a:bodyPr wrap="square" lIns="0" tIns="0" rIns="0" bIns="0" anchor="ctr" anchorCtr="0">
            <a:noAutofit/>
          </a:bodyPr>
          <a:lstStyle/>
          <a:p>
            <a:pPr lvl="0" algn="l" defTabSz="914400">
              <a:lnSpc>
                <a:spcPct val="100000"/>
              </a:lnSpc>
              <a:defRPr/>
            </a:pPr>
            <a:r>
              <a:rPr lang="en-US" sz="800" kern="0" dirty="0">
                <a:solidFill>
                  <a:srgbClr val="00458D"/>
                </a:solidFill>
                <a:latin typeface="+mj-lt"/>
                <a:cs typeface="Arial" panose="020B0604020202020204" pitchFamily="34" charset="0"/>
              </a:rPr>
              <a:t>Capgemini’s Global Utilities Sector | June</a:t>
            </a:r>
            <a:r>
              <a:rPr lang="en-US" sz="800" kern="0" baseline="0" dirty="0">
                <a:solidFill>
                  <a:srgbClr val="00458D"/>
                </a:solidFill>
                <a:latin typeface="+mj-lt"/>
                <a:cs typeface="Arial" panose="020B0604020202020204" pitchFamily="34" charset="0"/>
              </a:rPr>
              <a:t> 2018</a:t>
            </a:r>
            <a:endParaRPr lang="en-US" sz="800" kern="0" dirty="0">
              <a:solidFill>
                <a:srgbClr val="00458D"/>
              </a:solidFill>
              <a:latin typeface="+mj-lt"/>
              <a:cs typeface="Arial" panose="020B0604020202020204" pitchFamily="34" charset="0"/>
            </a:endParaRPr>
          </a:p>
        </p:txBody>
      </p:sp>
      <p:sp>
        <p:nvSpPr>
          <p:cNvPr id="24" name="Retângulo 43">
            <a:extLst>
              <a:ext uri="{FF2B5EF4-FFF2-40B4-BE49-F238E27FC236}">
                <a16:creationId xmlns:a16="http://schemas.microsoft.com/office/drawing/2014/main" id="{35907461-FF7A-41B0-ADA9-4AC0CBF1C02A}"/>
              </a:ext>
            </a:extLst>
          </p:cNvPr>
          <p:cNvSpPr/>
          <p:nvPr userDrawn="1"/>
        </p:nvSpPr>
        <p:spPr>
          <a:xfrm>
            <a:off x="3061405" y="6555758"/>
            <a:ext cx="2223686" cy="219456"/>
          </a:xfrm>
          <a:prstGeom prst="rect">
            <a:avLst/>
          </a:prstGeom>
        </p:spPr>
        <p:txBody>
          <a:bodyPr wrap="none" lIns="0" tIns="0" rIns="0" bIns="0" anchor="ctr">
            <a:noAutofit/>
          </a:bodyPr>
          <a:lstStyle/>
          <a:p>
            <a:pPr algn="l">
              <a:lnSpc>
                <a:spcPct val="100000"/>
              </a:lnSpc>
            </a:pPr>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2402607864"/>
      </p:ext>
    </p:extLst>
  </p:cSld>
  <p:clrMapOvr>
    <a:overrideClrMapping bg1="lt1" tx1="dk1" bg2="lt2" tx2="dk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Freeform: Shape 30">
            <a:extLst>
              <a:ext uri="{FF2B5EF4-FFF2-40B4-BE49-F238E27FC236}">
                <a16:creationId xmlns:a16="http://schemas.microsoft.com/office/drawing/2014/main" id="{873E79B9-1231-483F-A150-C314749A33B6}"/>
              </a:ext>
            </a:extLst>
          </p:cNvPr>
          <p:cNvSpPr>
            <a:spLocks/>
          </p:cNvSpPr>
          <p:nvPr userDrawn="1"/>
        </p:nvSpPr>
        <p:spPr bwMode="auto">
          <a:xfrm>
            <a:off x="0" y="-1638"/>
            <a:ext cx="5942704" cy="6859638"/>
          </a:xfrm>
          <a:custGeom>
            <a:avLst/>
            <a:gdLst>
              <a:gd name="connsiteX0" fmla="*/ 0 w 5942704"/>
              <a:gd name="connsiteY0" fmla="*/ 0 h 6859638"/>
              <a:gd name="connsiteX1" fmla="*/ 1923361 w 5942704"/>
              <a:gd name="connsiteY1" fmla="*/ 0 h 6859638"/>
              <a:gd name="connsiteX2" fmla="*/ 2016937 w 5942704"/>
              <a:gd name="connsiteY2" fmla="*/ 240178 h 6859638"/>
              <a:gd name="connsiteX3" fmla="*/ 5381512 w 5942704"/>
              <a:gd name="connsiteY3" fmla="*/ 2448041 h 6859638"/>
              <a:gd name="connsiteX4" fmla="*/ 3933862 w 5942704"/>
              <a:gd name="connsiteY4" fmla="*/ 6788906 h 6859638"/>
              <a:gd name="connsiteX5" fmla="*/ 3832049 w 5942704"/>
              <a:gd name="connsiteY5" fmla="*/ 6859638 h 6859638"/>
              <a:gd name="connsiteX6" fmla="*/ 0 w 5942704"/>
              <a:gd name="connsiteY6" fmla="*/ 6859638 h 6859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4" h="6859638">
                <a:moveTo>
                  <a:pt x="0" y="0"/>
                </a:moveTo>
                <a:lnTo>
                  <a:pt x="1923361" y="0"/>
                </a:lnTo>
                <a:lnTo>
                  <a:pt x="2016937" y="240178"/>
                </a:lnTo>
                <a:cubicBezTo>
                  <a:pt x="3206701" y="3054565"/>
                  <a:pt x="5838311" y="3741794"/>
                  <a:pt x="5381512" y="2448041"/>
                </a:cubicBezTo>
                <a:cubicBezTo>
                  <a:pt x="6119799" y="2727433"/>
                  <a:pt x="6539699" y="4874545"/>
                  <a:pt x="3933862" y="6788906"/>
                </a:cubicBezTo>
                <a:lnTo>
                  <a:pt x="3832049" y="6859638"/>
                </a:lnTo>
                <a:lnTo>
                  <a:pt x="0" y="6859638"/>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2" name="Rectangle 31">
            <a:extLst>
              <a:ext uri="{FF2B5EF4-FFF2-40B4-BE49-F238E27FC236}">
                <a16:creationId xmlns:a16="http://schemas.microsoft.com/office/drawing/2014/main" id="{FE10363E-5CC2-4CBD-8DAD-57D4B432EB72}"/>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NG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33" name="Rectangle 32">
            <a:extLst>
              <a:ext uri="{FF2B5EF4-FFF2-40B4-BE49-F238E27FC236}">
                <a16:creationId xmlns:a16="http://schemas.microsoft.com/office/drawing/2014/main" id="{ACED0802-AAB9-4B18-BEA1-35C553177D28}"/>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4" name="Rectangle 33">
            <a:extLst>
              <a:ext uri="{FF2B5EF4-FFF2-40B4-BE49-F238E27FC236}">
                <a16:creationId xmlns:a16="http://schemas.microsoft.com/office/drawing/2014/main" id="{C7347F13-EC6E-4DB6-8A39-76B40A390DB9}"/>
              </a:ext>
            </a:extLst>
          </p:cNvPr>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sp>
        <p:nvSpPr>
          <p:cNvPr id="35" name="Rectangle 34">
            <a:hlinkClick r:id="rId2"/>
            <a:extLst>
              <a:ext uri="{FF2B5EF4-FFF2-40B4-BE49-F238E27FC236}">
                <a16:creationId xmlns:a16="http://schemas.microsoft.com/office/drawing/2014/main" id="{5A4211E9-A1F2-4E5A-BBB6-78A7E86E1BD5}"/>
              </a:ext>
            </a:extLst>
          </p:cNvPr>
          <p:cNvSpPr/>
          <p:nvPr userDrawn="1"/>
        </p:nvSpPr>
        <p:spPr>
          <a:xfrm>
            <a:off x="6532245" y="4445639"/>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3" name="Rectangle 42">
            <a:extLst>
              <a:ext uri="{FF2B5EF4-FFF2-40B4-BE49-F238E27FC236}">
                <a16:creationId xmlns:a16="http://schemas.microsoft.com/office/drawing/2014/main" id="{40B700E4-E518-4407-9D81-7B0356270E6A}"/>
              </a:ext>
            </a:extLst>
          </p:cNvPr>
          <p:cNvSpPr/>
          <p:nvPr userDrawn="1"/>
        </p:nvSpPr>
        <p:spPr>
          <a:xfrm>
            <a:off x="415038" y="5586968"/>
            <a:ext cx="4198620" cy="369332"/>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8 Capgemini. All rights reserved.</a:t>
            </a:r>
          </a:p>
        </p:txBody>
      </p:sp>
      <p:pic>
        <p:nvPicPr>
          <p:cNvPr id="44" name="Picture 2" descr="D:\My Work\Template\Icons\Social Media\LinkedIN.png">
            <a:hlinkClick r:id="rId3"/>
            <a:extLst>
              <a:ext uri="{FF2B5EF4-FFF2-40B4-BE49-F238E27FC236}">
                <a16:creationId xmlns:a16="http://schemas.microsoft.com/office/drawing/2014/main" id="{B2BBA048-8107-44E4-AC7F-84C352BD87B6}"/>
              </a:ext>
            </a:extLst>
          </p:cNvPr>
          <p:cNvPicPr>
            <a:picLocks noChangeAspect="1" noChangeArrowheads="1"/>
          </p:cNvPicPr>
          <p:nvPr userDrawn="1"/>
        </p:nvPicPr>
        <p:blipFill>
          <a:blip r:embed="rId4" cstate="print"/>
          <a:srcRect/>
          <a:stretch>
            <a:fillRect/>
          </a:stretch>
        </p:blipFill>
        <p:spPr bwMode="auto">
          <a:xfrm>
            <a:off x="798415" y="3979258"/>
            <a:ext cx="333195" cy="333195"/>
          </a:xfrm>
          <a:prstGeom prst="rect">
            <a:avLst/>
          </a:prstGeom>
          <a:noFill/>
        </p:spPr>
      </p:pic>
      <p:pic>
        <p:nvPicPr>
          <p:cNvPr id="45" name="Picture 4" descr="D:\My Work\Template\Icons\Social Media\SlideShare.png">
            <a:hlinkClick r:id="rId5"/>
            <a:extLst>
              <a:ext uri="{FF2B5EF4-FFF2-40B4-BE49-F238E27FC236}">
                <a16:creationId xmlns:a16="http://schemas.microsoft.com/office/drawing/2014/main" id="{36FA1769-CA3E-4245-86D8-E7413737BD8C}"/>
              </a:ext>
            </a:extLst>
          </p:cNvPr>
          <p:cNvPicPr>
            <a:picLocks noChangeAspect="1" noChangeArrowheads="1"/>
          </p:cNvPicPr>
          <p:nvPr userDrawn="1"/>
        </p:nvPicPr>
        <p:blipFill>
          <a:blip r:embed="rId6" cstate="print"/>
          <a:srcRect/>
          <a:stretch>
            <a:fillRect/>
          </a:stretch>
        </p:blipFill>
        <p:spPr bwMode="auto">
          <a:xfrm>
            <a:off x="1181792" y="3979258"/>
            <a:ext cx="333195" cy="333195"/>
          </a:xfrm>
          <a:prstGeom prst="rect">
            <a:avLst/>
          </a:prstGeom>
          <a:noFill/>
        </p:spPr>
      </p:pic>
      <p:pic>
        <p:nvPicPr>
          <p:cNvPr id="46" name="Picture 5" descr="D:\My Work\Template\Icons\Social Media\Twitter.png">
            <a:hlinkClick r:id="rId7"/>
            <a:extLst>
              <a:ext uri="{FF2B5EF4-FFF2-40B4-BE49-F238E27FC236}">
                <a16:creationId xmlns:a16="http://schemas.microsoft.com/office/drawing/2014/main" id="{13E93383-F738-4739-BB01-CCA0F0127109}"/>
              </a:ext>
            </a:extLst>
          </p:cNvPr>
          <p:cNvPicPr>
            <a:picLocks noChangeAspect="1" noChangeArrowheads="1"/>
          </p:cNvPicPr>
          <p:nvPr userDrawn="1"/>
        </p:nvPicPr>
        <p:blipFill>
          <a:blip r:embed="rId8" cstate="print"/>
          <a:srcRect/>
          <a:stretch>
            <a:fillRect/>
          </a:stretch>
        </p:blipFill>
        <p:spPr bwMode="auto">
          <a:xfrm>
            <a:off x="1565169" y="3979258"/>
            <a:ext cx="333195" cy="333195"/>
          </a:xfrm>
          <a:prstGeom prst="rect">
            <a:avLst/>
          </a:prstGeom>
          <a:noFill/>
        </p:spPr>
      </p:pic>
      <p:pic>
        <p:nvPicPr>
          <p:cNvPr id="47" name="Picture 6" descr="D:\My Work\Template\Icons\Social Media\YouTube.png">
            <a:hlinkClick r:id="rId9"/>
            <a:extLst>
              <a:ext uri="{FF2B5EF4-FFF2-40B4-BE49-F238E27FC236}">
                <a16:creationId xmlns:a16="http://schemas.microsoft.com/office/drawing/2014/main" id="{51840882-78D7-432F-A20C-0A55D871CE89}"/>
              </a:ext>
            </a:extLst>
          </p:cNvPr>
          <p:cNvPicPr>
            <a:picLocks noChangeAspect="1" noChangeArrowheads="1"/>
          </p:cNvPicPr>
          <p:nvPr userDrawn="1"/>
        </p:nvPicPr>
        <p:blipFill>
          <a:blip r:embed="rId10" cstate="print"/>
          <a:srcRect/>
          <a:stretch>
            <a:fillRect/>
          </a:stretch>
        </p:blipFill>
        <p:spPr bwMode="auto">
          <a:xfrm>
            <a:off x="1948545" y="3979258"/>
            <a:ext cx="333195" cy="333195"/>
          </a:xfrm>
          <a:prstGeom prst="rect">
            <a:avLst/>
          </a:prstGeom>
          <a:noFill/>
        </p:spPr>
      </p:pic>
      <p:pic>
        <p:nvPicPr>
          <p:cNvPr id="48" name="Picture 7" descr="D:\My Work\Template\Icons\Social Media\Facebook.png">
            <a:hlinkClick r:id="rId11"/>
            <a:extLst>
              <a:ext uri="{FF2B5EF4-FFF2-40B4-BE49-F238E27FC236}">
                <a16:creationId xmlns:a16="http://schemas.microsoft.com/office/drawing/2014/main" id="{3B934C6D-A2E4-4738-B6CB-3F3D79E971EA}"/>
              </a:ext>
            </a:extLst>
          </p:cNvPr>
          <p:cNvPicPr>
            <a:picLocks noChangeAspect="1" noChangeArrowheads="1"/>
          </p:cNvPicPr>
          <p:nvPr userDrawn="1"/>
        </p:nvPicPr>
        <p:blipFill>
          <a:blip r:embed="rId12" cstate="print"/>
          <a:srcRect/>
          <a:stretch>
            <a:fillRect/>
          </a:stretch>
        </p:blipFill>
        <p:spPr bwMode="auto">
          <a:xfrm>
            <a:off x="415038" y="3979258"/>
            <a:ext cx="333195" cy="333195"/>
          </a:xfrm>
          <a:prstGeom prst="rect">
            <a:avLst/>
          </a:prstGeom>
          <a:noFill/>
        </p:spPr>
      </p:pic>
      <p:pic>
        <p:nvPicPr>
          <p:cNvPr id="49" name="Picture 48">
            <a:extLst>
              <a:ext uri="{FF2B5EF4-FFF2-40B4-BE49-F238E27FC236}">
                <a16:creationId xmlns:a16="http://schemas.microsoft.com/office/drawing/2014/main" id="{FAD60CD1-8FF8-44FE-8578-BA41077F9DC5}"/>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Tree>
    <p:extLst>
      <p:ext uri="{BB962C8B-B14F-4D97-AF65-F5344CB8AC3E}">
        <p14:creationId xmlns:p14="http://schemas.microsoft.com/office/powerpoint/2010/main" val="77790343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3_Blank-White">
    <p:spTree>
      <p:nvGrpSpPr>
        <p:cNvPr id="1" name=""/>
        <p:cNvGrpSpPr/>
        <p:nvPr/>
      </p:nvGrpSpPr>
      <p:grpSpPr>
        <a:xfrm>
          <a:off x="0" y="0"/>
          <a:ext cx="0" cy="0"/>
          <a:chOff x="0" y="0"/>
          <a:chExt cx="0" cy="0"/>
        </a:xfrm>
      </p:grpSpPr>
      <p:sp>
        <p:nvSpPr>
          <p:cNvPr id="441" name="Rectangle 440"/>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7" name="Freeform 45"/>
          <p:cNvSpPr>
            <a:spLocks/>
          </p:cNvSpPr>
          <p:nvPr userDrawn="1"/>
        </p:nvSpPr>
        <p:spPr bwMode="auto">
          <a:xfrm flipH="1">
            <a:off x="8230817" y="0"/>
            <a:ext cx="3961183" cy="4790645"/>
          </a:xfrm>
          <a:custGeom>
            <a:avLst/>
            <a:gdLst>
              <a:gd name="T0" fmla="*/ 350 w 411"/>
              <a:gd name="T1" fmla="*/ 0 h 498"/>
              <a:gd name="T2" fmla="*/ 375 w 411"/>
              <a:gd name="T3" fmla="*/ 214 h 498"/>
              <a:gd name="T4" fmla="*/ 79 w 411"/>
              <a:gd name="T5" fmla="*/ 474 h 498"/>
              <a:gd name="T6" fmla="*/ 0 w 411"/>
              <a:gd name="T7" fmla="*/ 448 h 498"/>
              <a:gd name="T8" fmla="*/ 0 w 411"/>
              <a:gd name="T9" fmla="*/ 0 h 498"/>
              <a:gd name="T10" fmla="*/ 350 w 411"/>
              <a:gd name="T11" fmla="*/ 0 h 498"/>
            </a:gdLst>
            <a:ahLst/>
            <a:cxnLst>
              <a:cxn ang="0">
                <a:pos x="T0" y="T1"/>
              </a:cxn>
              <a:cxn ang="0">
                <a:pos x="T2" y="T3"/>
              </a:cxn>
              <a:cxn ang="0">
                <a:pos x="T4" y="T5"/>
              </a:cxn>
              <a:cxn ang="0">
                <a:pos x="T6" y="T7"/>
              </a:cxn>
              <a:cxn ang="0">
                <a:pos x="T8" y="T9"/>
              </a:cxn>
              <a:cxn ang="0">
                <a:pos x="T10" y="T11"/>
              </a:cxn>
            </a:cxnLst>
            <a:rect l="0" t="0" r="r" b="b"/>
            <a:pathLst>
              <a:path w="411" h="498">
                <a:moveTo>
                  <a:pt x="350" y="0"/>
                </a:moveTo>
                <a:cubicBezTo>
                  <a:pt x="350" y="0"/>
                  <a:pt x="411" y="56"/>
                  <a:pt x="375" y="214"/>
                </a:cubicBezTo>
                <a:cubicBezTo>
                  <a:pt x="205" y="230"/>
                  <a:pt x="228" y="498"/>
                  <a:pt x="79" y="474"/>
                </a:cubicBezTo>
                <a:cubicBezTo>
                  <a:pt x="46" y="468"/>
                  <a:pt x="0" y="448"/>
                  <a:pt x="0" y="448"/>
                </a:cubicBezTo>
                <a:cubicBezTo>
                  <a:pt x="0" y="0"/>
                  <a:pt x="0" y="0"/>
                  <a:pt x="0" y="0"/>
                </a:cubicBezTo>
                <a:lnTo>
                  <a:pt x="350"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4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lnSpc>
                <a:spcPct val="100000"/>
              </a:lnSpc>
            </a:pPr>
            <a:fld id="{0502E5A9-B53C-401E-A0E0-4A359BB0A9E5}" type="slidenum">
              <a:rPr lang="en-US" sz="800" smtClean="0">
                <a:solidFill>
                  <a:schemeClr val="bg1"/>
                </a:solidFill>
                <a:cs typeface="Arial" panose="020B0604020202020204" pitchFamily="34" charset="0"/>
              </a:rPr>
              <a:pPr algn="r">
                <a:lnSpc>
                  <a:spcPct val="100000"/>
                </a:lnSpc>
              </a:pPr>
              <a:t>‹#›</a:t>
            </a:fld>
            <a:endParaRPr lang="en-US" sz="800" dirty="0">
              <a:solidFill>
                <a:schemeClr val="bg1"/>
              </a:solidFill>
              <a:cs typeface="Arial" panose="020B0604020202020204" pitchFamily="34" charset="0"/>
            </a:endParaRPr>
          </a:p>
        </p:txBody>
      </p:sp>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9" y="404813"/>
            <a:ext cx="11022012"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Freeform 45"/>
          <p:cNvSpPr>
            <a:spLocks/>
          </p:cNvSpPr>
          <p:nvPr userDrawn="1"/>
        </p:nvSpPr>
        <p:spPr bwMode="auto">
          <a:xfrm>
            <a:off x="0" y="0"/>
            <a:ext cx="2796209" cy="3381728"/>
          </a:xfrm>
          <a:custGeom>
            <a:avLst/>
            <a:gdLst>
              <a:gd name="T0" fmla="*/ 350 w 411"/>
              <a:gd name="T1" fmla="*/ 0 h 498"/>
              <a:gd name="T2" fmla="*/ 375 w 411"/>
              <a:gd name="T3" fmla="*/ 214 h 498"/>
              <a:gd name="T4" fmla="*/ 79 w 411"/>
              <a:gd name="T5" fmla="*/ 474 h 498"/>
              <a:gd name="T6" fmla="*/ 0 w 411"/>
              <a:gd name="T7" fmla="*/ 448 h 498"/>
              <a:gd name="T8" fmla="*/ 0 w 411"/>
              <a:gd name="T9" fmla="*/ 0 h 498"/>
              <a:gd name="T10" fmla="*/ 350 w 411"/>
              <a:gd name="T11" fmla="*/ 0 h 498"/>
            </a:gdLst>
            <a:ahLst/>
            <a:cxnLst>
              <a:cxn ang="0">
                <a:pos x="T0" y="T1"/>
              </a:cxn>
              <a:cxn ang="0">
                <a:pos x="T2" y="T3"/>
              </a:cxn>
              <a:cxn ang="0">
                <a:pos x="T4" y="T5"/>
              </a:cxn>
              <a:cxn ang="0">
                <a:pos x="T6" y="T7"/>
              </a:cxn>
              <a:cxn ang="0">
                <a:pos x="T8" y="T9"/>
              </a:cxn>
              <a:cxn ang="0">
                <a:pos x="T10" y="T11"/>
              </a:cxn>
            </a:cxnLst>
            <a:rect l="0" t="0" r="r" b="b"/>
            <a:pathLst>
              <a:path w="411" h="498">
                <a:moveTo>
                  <a:pt x="350" y="0"/>
                </a:moveTo>
                <a:cubicBezTo>
                  <a:pt x="350" y="0"/>
                  <a:pt x="411" y="56"/>
                  <a:pt x="375" y="214"/>
                </a:cubicBezTo>
                <a:cubicBezTo>
                  <a:pt x="205" y="230"/>
                  <a:pt x="228" y="498"/>
                  <a:pt x="79" y="474"/>
                </a:cubicBezTo>
                <a:cubicBezTo>
                  <a:pt x="46" y="468"/>
                  <a:pt x="0" y="448"/>
                  <a:pt x="0" y="448"/>
                </a:cubicBezTo>
                <a:cubicBezTo>
                  <a:pt x="0" y="0"/>
                  <a:pt x="0" y="0"/>
                  <a:pt x="0" y="0"/>
                </a:cubicBezTo>
                <a:lnTo>
                  <a:pt x="350" y="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11" name="Graphic 4">
            <a:extLst>
              <a:ext uri="{FF2B5EF4-FFF2-40B4-BE49-F238E27FC236}">
                <a16:creationId xmlns:a16="http://schemas.microsoft.com/office/drawing/2014/main" id="{ECBC2736-A38B-4C41-951C-2ACA18ECF694}"/>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81836" t="-4713" b="16530"/>
          <a:stretch/>
        </p:blipFill>
        <p:spPr>
          <a:xfrm>
            <a:off x="11547793" y="188640"/>
            <a:ext cx="424356" cy="459624"/>
          </a:xfrm>
          <a:prstGeom prst="rect">
            <a:avLst/>
          </a:prstGeom>
        </p:spPr>
      </p:pic>
      <p:cxnSp>
        <p:nvCxnSpPr>
          <p:cNvPr id="13" name="Conector reto 49">
            <a:extLst>
              <a:ext uri="{FF2B5EF4-FFF2-40B4-BE49-F238E27FC236}">
                <a16:creationId xmlns:a16="http://schemas.microsoft.com/office/drawing/2014/main" id="{6C5D2294-B3B6-4A26-90E9-9FFFC75C168C}"/>
              </a:ext>
            </a:extLst>
          </p:cNvPr>
          <p:cNvCxnSpPr>
            <a:cxnSpLocks/>
          </p:cNvCxnSpPr>
          <p:nvPr userDrawn="1"/>
        </p:nvCxnSpPr>
        <p:spPr>
          <a:xfrm flipV="1">
            <a:off x="2933700"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id="{7CC420CE-B749-4D20-8454-6625AA0FE8C5}"/>
              </a:ext>
            </a:extLst>
          </p:cNvPr>
          <p:cNvSpPr/>
          <p:nvPr userDrawn="1"/>
        </p:nvSpPr>
        <p:spPr>
          <a:xfrm>
            <a:off x="407988" y="6555971"/>
            <a:ext cx="2468880" cy="219456"/>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bg1"/>
                </a:solidFill>
                <a:latin typeface="+mj-lt"/>
                <a:cs typeface="Arial" panose="020B0604020202020204" pitchFamily="34" charset="0"/>
              </a:rPr>
              <a:t>Capgemini’s Global Utilities Sector | June</a:t>
            </a:r>
            <a:r>
              <a:rPr lang="en-US" sz="800" kern="0" baseline="0" dirty="0">
                <a:solidFill>
                  <a:schemeClr val="bg1"/>
                </a:solidFill>
                <a:latin typeface="+mj-lt"/>
                <a:cs typeface="Arial" panose="020B0604020202020204" pitchFamily="34" charset="0"/>
              </a:rPr>
              <a:t> 2018</a:t>
            </a:r>
            <a:endParaRPr lang="en-US" sz="800" kern="0" dirty="0">
              <a:solidFill>
                <a:schemeClr val="bg1"/>
              </a:solidFill>
              <a:latin typeface="+mj-lt"/>
              <a:cs typeface="Arial" panose="020B0604020202020204" pitchFamily="34" charset="0"/>
            </a:endParaRPr>
          </a:p>
        </p:txBody>
      </p:sp>
      <p:sp>
        <p:nvSpPr>
          <p:cNvPr id="15" name="Retângulo 43">
            <a:extLst>
              <a:ext uri="{FF2B5EF4-FFF2-40B4-BE49-F238E27FC236}">
                <a16:creationId xmlns:a16="http://schemas.microsoft.com/office/drawing/2014/main" id="{490F61A2-F78E-4482-A576-B24A88504F7C}"/>
              </a:ext>
            </a:extLst>
          </p:cNvPr>
          <p:cNvSpPr/>
          <p:nvPr userDrawn="1"/>
        </p:nvSpPr>
        <p:spPr>
          <a:xfrm>
            <a:off x="3061405" y="6555758"/>
            <a:ext cx="2223686" cy="219456"/>
          </a:xfrm>
          <a:prstGeom prst="rect">
            <a:avLst/>
          </a:prstGeom>
        </p:spPr>
        <p:txBody>
          <a:bodyPr wrap="none" lIns="0" tIns="0" rIns="0" bIns="0" anchor="ctr">
            <a:noAutofit/>
          </a:bodyPr>
          <a:lstStyle/>
          <a:p>
            <a:pPr algn="l">
              <a:lnSpc>
                <a:spcPct val="100000"/>
              </a:lnSpc>
            </a:pPr>
            <a:r>
              <a:rPr lang="en-US" sz="800" dirty="0">
                <a:solidFill>
                  <a:schemeClr val="bg1"/>
                </a:solidFill>
                <a:cs typeface="Arial" panose="020B0604020202020204" pitchFamily="34" charset="0"/>
              </a:rPr>
              <a:t>© 2018 Capgemini. All rights reserved.</a:t>
            </a:r>
          </a:p>
        </p:txBody>
      </p:sp>
    </p:spTree>
    <p:extLst>
      <p:ext uri="{BB962C8B-B14F-4D97-AF65-F5344CB8AC3E}">
        <p14:creationId xmlns:p14="http://schemas.microsoft.com/office/powerpoint/2010/main" val="99387037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_Blank-White">
    <p:spTree>
      <p:nvGrpSpPr>
        <p:cNvPr id="1" name=""/>
        <p:cNvGrpSpPr/>
        <p:nvPr/>
      </p:nvGrpSpPr>
      <p:grpSpPr>
        <a:xfrm>
          <a:off x="0" y="0"/>
          <a:ext cx="0" cy="0"/>
          <a:chOff x="0" y="0"/>
          <a:chExt cx="0" cy="0"/>
        </a:xfrm>
      </p:grpSpPr>
      <p:sp>
        <p:nvSpPr>
          <p:cNvPr id="441" name="Rectangle 440"/>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7" name="Freeform 45"/>
          <p:cNvSpPr>
            <a:spLocks/>
          </p:cNvSpPr>
          <p:nvPr userDrawn="1"/>
        </p:nvSpPr>
        <p:spPr bwMode="auto">
          <a:xfrm flipH="1">
            <a:off x="8230817" y="0"/>
            <a:ext cx="3961183" cy="4790645"/>
          </a:xfrm>
          <a:custGeom>
            <a:avLst/>
            <a:gdLst>
              <a:gd name="T0" fmla="*/ 350 w 411"/>
              <a:gd name="T1" fmla="*/ 0 h 498"/>
              <a:gd name="T2" fmla="*/ 375 w 411"/>
              <a:gd name="T3" fmla="*/ 214 h 498"/>
              <a:gd name="T4" fmla="*/ 79 w 411"/>
              <a:gd name="T5" fmla="*/ 474 h 498"/>
              <a:gd name="T6" fmla="*/ 0 w 411"/>
              <a:gd name="T7" fmla="*/ 448 h 498"/>
              <a:gd name="T8" fmla="*/ 0 w 411"/>
              <a:gd name="T9" fmla="*/ 0 h 498"/>
              <a:gd name="T10" fmla="*/ 350 w 411"/>
              <a:gd name="T11" fmla="*/ 0 h 498"/>
            </a:gdLst>
            <a:ahLst/>
            <a:cxnLst>
              <a:cxn ang="0">
                <a:pos x="T0" y="T1"/>
              </a:cxn>
              <a:cxn ang="0">
                <a:pos x="T2" y="T3"/>
              </a:cxn>
              <a:cxn ang="0">
                <a:pos x="T4" y="T5"/>
              </a:cxn>
              <a:cxn ang="0">
                <a:pos x="T6" y="T7"/>
              </a:cxn>
              <a:cxn ang="0">
                <a:pos x="T8" y="T9"/>
              </a:cxn>
              <a:cxn ang="0">
                <a:pos x="T10" y="T11"/>
              </a:cxn>
            </a:cxnLst>
            <a:rect l="0" t="0" r="r" b="b"/>
            <a:pathLst>
              <a:path w="411" h="498">
                <a:moveTo>
                  <a:pt x="350" y="0"/>
                </a:moveTo>
                <a:cubicBezTo>
                  <a:pt x="350" y="0"/>
                  <a:pt x="411" y="56"/>
                  <a:pt x="375" y="214"/>
                </a:cubicBezTo>
                <a:cubicBezTo>
                  <a:pt x="205" y="230"/>
                  <a:pt x="228" y="498"/>
                  <a:pt x="79" y="474"/>
                </a:cubicBezTo>
                <a:cubicBezTo>
                  <a:pt x="46" y="468"/>
                  <a:pt x="0" y="448"/>
                  <a:pt x="0" y="448"/>
                </a:cubicBezTo>
                <a:cubicBezTo>
                  <a:pt x="0" y="0"/>
                  <a:pt x="0" y="0"/>
                  <a:pt x="0" y="0"/>
                </a:cubicBezTo>
                <a:lnTo>
                  <a:pt x="350"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4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lnSpc>
                <a:spcPct val="100000"/>
              </a:lnSpc>
            </a:pPr>
            <a:fld id="{0502E5A9-B53C-401E-A0E0-4A359BB0A9E5}" type="slidenum">
              <a:rPr lang="en-US" sz="800" smtClean="0">
                <a:solidFill>
                  <a:schemeClr val="bg1"/>
                </a:solidFill>
                <a:cs typeface="Arial" panose="020B0604020202020204" pitchFamily="34" charset="0"/>
              </a:rPr>
              <a:pPr algn="r">
                <a:lnSpc>
                  <a:spcPct val="100000"/>
                </a:lnSpc>
              </a:pPr>
              <a:t>‹#›</a:t>
            </a:fld>
            <a:endParaRPr lang="en-US" sz="800" dirty="0">
              <a:solidFill>
                <a:schemeClr val="bg1"/>
              </a:solidFill>
              <a:cs typeface="Arial" panose="020B0604020202020204" pitchFamily="34" charset="0"/>
            </a:endParaRPr>
          </a:p>
        </p:txBody>
      </p:sp>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9" y="404813"/>
            <a:ext cx="11022012"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Freeform 45"/>
          <p:cNvSpPr>
            <a:spLocks/>
          </p:cNvSpPr>
          <p:nvPr userDrawn="1"/>
        </p:nvSpPr>
        <p:spPr bwMode="auto">
          <a:xfrm>
            <a:off x="0" y="0"/>
            <a:ext cx="2796209" cy="3381728"/>
          </a:xfrm>
          <a:custGeom>
            <a:avLst/>
            <a:gdLst>
              <a:gd name="T0" fmla="*/ 350 w 411"/>
              <a:gd name="T1" fmla="*/ 0 h 498"/>
              <a:gd name="T2" fmla="*/ 375 w 411"/>
              <a:gd name="T3" fmla="*/ 214 h 498"/>
              <a:gd name="T4" fmla="*/ 79 w 411"/>
              <a:gd name="T5" fmla="*/ 474 h 498"/>
              <a:gd name="T6" fmla="*/ 0 w 411"/>
              <a:gd name="T7" fmla="*/ 448 h 498"/>
              <a:gd name="T8" fmla="*/ 0 w 411"/>
              <a:gd name="T9" fmla="*/ 0 h 498"/>
              <a:gd name="T10" fmla="*/ 350 w 411"/>
              <a:gd name="T11" fmla="*/ 0 h 498"/>
            </a:gdLst>
            <a:ahLst/>
            <a:cxnLst>
              <a:cxn ang="0">
                <a:pos x="T0" y="T1"/>
              </a:cxn>
              <a:cxn ang="0">
                <a:pos x="T2" y="T3"/>
              </a:cxn>
              <a:cxn ang="0">
                <a:pos x="T4" y="T5"/>
              </a:cxn>
              <a:cxn ang="0">
                <a:pos x="T6" y="T7"/>
              </a:cxn>
              <a:cxn ang="0">
                <a:pos x="T8" y="T9"/>
              </a:cxn>
              <a:cxn ang="0">
                <a:pos x="T10" y="T11"/>
              </a:cxn>
            </a:cxnLst>
            <a:rect l="0" t="0" r="r" b="b"/>
            <a:pathLst>
              <a:path w="411" h="498">
                <a:moveTo>
                  <a:pt x="350" y="0"/>
                </a:moveTo>
                <a:cubicBezTo>
                  <a:pt x="350" y="0"/>
                  <a:pt x="411" y="56"/>
                  <a:pt x="375" y="214"/>
                </a:cubicBezTo>
                <a:cubicBezTo>
                  <a:pt x="205" y="230"/>
                  <a:pt x="228" y="498"/>
                  <a:pt x="79" y="474"/>
                </a:cubicBezTo>
                <a:cubicBezTo>
                  <a:pt x="46" y="468"/>
                  <a:pt x="0" y="448"/>
                  <a:pt x="0" y="448"/>
                </a:cubicBezTo>
                <a:cubicBezTo>
                  <a:pt x="0" y="0"/>
                  <a:pt x="0" y="0"/>
                  <a:pt x="0" y="0"/>
                </a:cubicBezTo>
                <a:lnTo>
                  <a:pt x="35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11" name="Graphic 4">
            <a:extLst>
              <a:ext uri="{FF2B5EF4-FFF2-40B4-BE49-F238E27FC236}">
                <a16:creationId xmlns:a16="http://schemas.microsoft.com/office/drawing/2014/main" id="{561DD1A2-19A5-46E6-9175-410695C17BAC}"/>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81836" t="-4713" b="16530"/>
          <a:stretch/>
        </p:blipFill>
        <p:spPr>
          <a:xfrm>
            <a:off x="11547793" y="188640"/>
            <a:ext cx="424356" cy="459624"/>
          </a:xfrm>
          <a:prstGeom prst="rect">
            <a:avLst/>
          </a:prstGeom>
        </p:spPr>
      </p:pic>
      <p:cxnSp>
        <p:nvCxnSpPr>
          <p:cNvPr id="14" name="Conector reto 49">
            <a:extLst>
              <a:ext uri="{FF2B5EF4-FFF2-40B4-BE49-F238E27FC236}">
                <a16:creationId xmlns:a16="http://schemas.microsoft.com/office/drawing/2014/main" id="{3D3996E0-EA70-49DE-B8FD-7133748109B3}"/>
              </a:ext>
            </a:extLst>
          </p:cNvPr>
          <p:cNvCxnSpPr>
            <a:cxnSpLocks/>
          </p:cNvCxnSpPr>
          <p:nvPr userDrawn="1"/>
        </p:nvCxnSpPr>
        <p:spPr>
          <a:xfrm flipV="1">
            <a:off x="2933700"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4"/>
            <a:extLst>
              <a:ext uri="{FF2B5EF4-FFF2-40B4-BE49-F238E27FC236}">
                <a16:creationId xmlns:a16="http://schemas.microsoft.com/office/drawing/2014/main" id="{2CB16981-5200-4332-BE60-582076D73D89}"/>
              </a:ext>
            </a:extLst>
          </p:cNvPr>
          <p:cNvSpPr/>
          <p:nvPr userDrawn="1"/>
        </p:nvSpPr>
        <p:spPr>
          <a:xfrm>
            <a:off x="407988" y="6555971"/>
            <a:ext cx="2468880" cy="219456"/>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bg1"/>
                </a:solidFill>
                <a:latin typeface="+mj-lt"/>
                <a:cs typeface="Arial" panose="020B0604020202020204" pitchFamily="34" charset="0"/>
              </a:rPr>
              <a:t>Capgemini’s Global Utilities Sector | June</a:t>
            </a:r>
            <a:r>
              <a:rPr lang="en-US" sz="800" kern="0" baseline="0" dirty="0">
                <a:solidFill>
                  <a:schemeClr val="bg1"/>
                </a:solidFill>
                <a:latin typeface="+mj-lt"/>
                <a:cs typeface="Arial" panose="020B0604020202020204" pitchFamily="34" charset="0"/>
              </a:rPr>
              <a:t> 2018</a:t>
            </a:r>
            <a:endParaRPr lang="en-US" sz="800" kern="0" dirty="0">
              <a:solidFill>
                <a:schemeClr val="bg1"/>
              </a:solidFill>
              <a:latin typeface="+mj-lt"/>
              <a:cs typeface="Arial" panose="020B0604020202020204" pitchFamily="34" charset="0"/>
            </a:endParaRPr>
          </a:p>
        </p:txBody>
      </p:sp>
      <p:sp>
        <p:nvSpPr>
          <p:cNvPr id="16" name="Retângulo 43">
            <a:extLst>
              <a:ext uri="{FF2B5EF4-FFF2-40B4-BE49-F238E27FC236}">
                <a16:creationId xmlns:a16="http://schemas.microsoft.com/office/drawing/2014/main" id="{BCD37E44-BD08-4BE1-A26B-FFC4E3D81E88}"/>
              </a:ext>
            </a:extLst>
          </p:cNvPr>
          <p:cNvSpPr/>
          <p:nvPr userDrawn="1"/>
        </p:nvSpPr>
        <p:spPr>
          <a:xfrm>
            <a:off x="3061405" y="6555758"/>
            <a:ext cx="2223686" cy="219456"/>
          </a:xfrm>
          <a:prstGeom prst="rect">
            <a:avLst/>
          </a:prstGeom>
        </p:spPr>
        <p:txBody>
          <a:bodyPr wrap="none" lIns="0" tIns="0" rIns="0" bIns="0" anchor="ctr">
            <a:noAutofit/>
          </a:bodyPr>
          <a:lstStyle/>
          <a:p>
            <a:pPr algn="l">
              <a:lnSpc>
                <a:spcPct val="100000"/>
              </a:lnSpc>
            </a:pPr>
            <a:r>
              <a:rPr lang="en-US" sz="800" dirty="0">
                <a:solidFill>
                  <a:schemeClr val="bg1"/>
                </a:solidFill>
                <a:cs typeface="Arial" panose="020B0604020202020204" pitchFamily="34" charset="0"/>
              </a:rPr>
              <a:t>© 2018 Capgemini. All rights reserved.</a:t>
            </a:r>
          </a:p>
        </p:txBody>
      </p:sp>
    </p:spTree>
    <p:extLst>
      <p:ext uri="{BB962C8B-B14F-4D97-AF65-F5344CB8AC3E}">
        <p14:creationId xmlns:p14="http://schemas.microsoft.com/office/powerpoint/2010/main" val="253153583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5_Blank-White">
    <p:spTree>
      <p:nvGrpSpPr>
        <p:cNvPr id="1" name=""/>
        <p:cNvGrpSpPr/>
        <p:nvPr/>
      </p:nvGrpSpPr>
      <p:grpSpPr>
        <a:xfrm>
          <a:off x="0" y="0"/>
          <a:ext cx="0" cy="0"/>
          <a:chOff x="0" y="0"/>
          <a:chExt cx="0" cy="0"/>
        </a:xfrm>
      </p:grpSpPr>
      <p:sp>
        <p:nvSpPr>
          <p:cNvPr id="441" name="Rectangle 440"/>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lnSpc>
                <a:spcPct val="100000"/>
              </a:lnSpc>
            </a:pPr>
            <a:fld id="{0502E5A9-B53C-401E-A0E0-4A359BB0A9E5}" type="slidenum">
              <a:rPr lang="en-US" sz="800" smtClean="0">
                <a:solidFill>
                  <a:schemeClr val="bg1"/>
                </a:solidFill>
                <a:cs typeface="Arial" panose="020B0604020202020204" pitchFamily="34" charset="0"/>
              </a:rPr>
              <a:pPr algn="r">
                <a:lnSpc>
                  <a:spcPct val="100000"/>
                </a:lnSpc>
              </a:pPr>
              <a:t>‹#›</a:t>
            </a:fld>
            <a:endParaRPr lang="en-US" sz="800" dirty="0">
              <a:solidFill>
                <a:schemeClr val="bg1"/>
              </a:solidFill>
              <a:cs typeface="Arial" panose="020B0604020202020204" pitchFamily="34" charset="0"/>
            </a:endParaRPr>
          </a:p>
        </p:txBody>
      </p:sp>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9" y="404813"/>
            <a:ext cx="11022012"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pic>
        <p:nvPicPr>
          <p:cNvPr id="9"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81836" t="-4713" b="16530"/>
          <a:stretch/>
        </p:blipFill>
        <p:spPr>
          <a:xfrm>
            <a:off x="11547793" y="188640"/>
            <a:ext cx="424356" cy="459624"/>
          </a:xfrm>
          <a:prstGeom prst="rect">
            <a:avLst/>
          </a:prstGeom>
        </p:spPr>
      </p:pic>
      <p:cxnSp>
        <p:nvCxnSpPr>
          <p:cNvPr id="13" name="Conector reto 49">
            <a:extLst>
              <a:ext uri="{FF2B5EF4-FFF2-40B4-BE49-F238E27FC236}">
                <a16:creationId xmlns:a16="http://schemas.microsoft.com/office/drawing/2014/main" id="{715E7D1C-3A42-45B1-9351-CBE7914A05A2}"/>
              </a:ext>
            </a:extLst>
          </p:cNvPr>
          <p:cNvCxnSpPr>
            <a:cxnSpLocks/>
          </p:cNvCxnSpPr>
          <p:nvPr userDrawn="1"/>
        </p:nvCxnSpPr>
        <p:spPr>
          <a:xfrm flipV="1">
            <a:off x="2933700"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id="{FF6DD7C1-912B-4D0E-9DBB-13583E0F7DC6}"/>
              </a:ext>
            </a:extLst>
          </p:cNvPr>
          <p:cNvSpPr/>
          <p:nvPr userDrawn="1"/>
        </p:nvSpPr>
        <p:spPr>
          <a:xfrm>
            <a:off x="407988" y="6555971"/>
            <a:ext cx="2468880" cy="219456"/>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bg1"/>
                </a:solidFill>
                <a:latin typeface="+mj-lt"/>
                <a:cs typeface="Arial" panose="020B0604020202020204" pitchFamily="34" charset="0"/>
              </a:rPr>
              <a:t>Capgemini’s Global Utilities Sector | June</a:t>
            </a:r>
            <a:r>
              <a:rPr lang="en-US" sz="800" kern="0" baseline="0" dirty="0">
                <a:solidFill>
                  <a:schemeClr val="bg1"/>
                </a:solidFill>
                <a:latin typeface="+mj-lt"/>
                <a:cs typeface="Arial" panose="020B0604020202020204" pitchFamily="34" charset="0"/>
              </a:rPr>
              <a:t> 2018</a:t>
            </a:r>
            <a:endParaRPr lang="en-US" sz="800" kern="0" dirty="0">
              <a:solidFill>
                <a:schemeClr val="bg1"/>
              </a:solidFill>
              <a:latin typeface="+mj-lt"/>
              <a:cs typeface="Arial" panose="020B0604020202020204" pitchFamily="34" charset="0"/>
            </a:endParaRPr>
          </a:p>
        </p:txBody>
      </p:sp>
      <p:sp>
        <p:nvSpPr>
          <p:cNvPr id="15" name="Retângulo 43">
            <a:extLst>
              <a:ext uri="{FF2B5EF4-FFF2-40B4-BE49-F238E27FC236}">
                <a16:creationId xmlns:a16="http://schemas.microsoft.com/office/drawing/2014/main" id="{BB5B0121-6A76-4848-88B5-0AEDAE66BA84}"/>
              </a:ext>
            </a:extLst>
          </p:cNvPr>
          <p:cNvSpPr/>
          <p:nvPr userDrawn="1"/>
        </p:nvSpPr>
        <p:spPr>
          <a:xfrm>
            <a:off x="3061405" y="6555758"/>
            <a:ext cx="2223686" cy="219456"/>
          </a:xfrm>
          <a:prstGeom prst="rect">
            <a:avLst/>
          </a:prstGeom>
        </p:spPr>
        <p:txBody>
          <a:bodyPr wrap="none" lIns="0" tIns="0" rIns="0" bIns="0" anchor="ctr">
            <a:noAutofit/>
          </a:bodyPr>
          <a:lstStyle/>
          <a:p>
            <a:pPr algn="l">
              <a:lnSpc>
                <a:spcPct val="100000"/>
              </a:lnSpc>
            </a:pPr>
            <a:r>
              <a:rPr lang="en-US" sz="800" dirty="0">
                <a:solidFill>
                  <a:schemeClr val="bg1"/>
                </a:solidFill>
                <a:cs typeface="Arial" panose="020B0604020202020204" pitchFamily="34" charset="0"/>
              </a:rPr>
              <a:t>© 2018 Capgemini. All rights reserved.</a:t>
            </a:r>
          </a:p>
        </p:txBody>
      </p:sp>
    </p:spTree>
    <p:extLst>
      <p:ext uri="{BB962C8B-B14F-4D97-AF65-F5344CB8AC3E}">
        <p14:creationId xmlns:p14="http://schemas.microsoft.com/office/powerpoint/2010/main" val="363021376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Cover2">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 name="Graphic 17">
            <a:extLst>
              <a:ext uri="{FF2B5EF4-FFF2-40B4-BE49-F238E27FC236}">
                <a16:creationId xmlns:a16="http://schemas.microsoft.com/office/drawing/2014/main" id="{829BBBD1-ECF6-4131-A3B0-11EFC39DB482}"/>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1" b="46599"/>
          <a:stretch/>
        </p:blipFill>
        <p:spPr>
          <a:xfrm flipH="1">
            <a:off x="3773714" y="1844825"/>
            <a:ext cx="8418286" cy="5013176"/>
          </a:xfrm>
          <a:prstGeom prst="rect">
            <a:avLst/>
          </a:prstGeom>
        </p:spPr>
      </p:pic>
      <p:pic>
        <p:nvPicPr>
          <p:cNvPr id="5"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07988" y="404813"/>
            <a:ext cx="2286000" cy="510013"/>
          </a:xfrm>
          <a:prstGeom prst="rect">
            <a:avLst/>
          </a:prstGeom>
        </p:spPr>
      </p:pic>
      <p:sp>
        <p:nvSpPr>
          <p:cNvPr id="14" name="Text Placeholder 13">
            <a:extLst>
              <a:ext uri="{FF2B5EF4-FFF2-40B4-BE49-F238E27FC236}">
                <a16:creationId xmlns:a16="http://schemas.microsoft.com/office/drawing/2014/main" id="{4252348C-45B4-48E3-B74B-8E834575C8AA}"/>
              </a:ext>
            </a:extLst>
          </p:cNvPr>
          <p:cNvSpPr>
            <a:spLocks noGrp="1"/>
          </p:cNvSpPr>
          <p:nvPr>
            <p:ph type="body" sz="quarter" idx="10" hasCustomPrompt="1"/>
          </p:nvPr>
        </p:nvSpPr>
        <p:spPr>
          <a:xfrm>
            <a:off x="6384032" y="4157668"/>
            <a:ext cx="5399981" cy="1079500"/>
          </a:xfrm>
        </p:spPr>
        <p:txBody>
          <a:bodyPr anchor="b">
            <a:normAutofit/>
          </a:bodyPr>
          <a:lstStyle>
            <a:lvl1pPr algn="r">
              <a:lnSpc>
                <a:spcPts val="3000"/>
              </a:lnSpc>
              <a:defRPr sz="260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id="{97620309-84FF-4D53-AD39-936B55216B4B}"/>
              </a:ext>
            </a:extLst>
          </p:cNvPr>
          <p:cNvSpPr>
            <a:spLocks noGrp="1"/>
          </p:cNvSpPr>
          <p:nvPr>
            <p:ph type="body" sz="quarter" idx="11" hasCustomPrompt="1"/>
          </p:nvPr>
        </p:nvSpPr>
        <p:spPr>
          <a:xfrm>
            <a:off x="6382672" y="5381481"/>
            <a:ext cx="5401341" cy="1079500"/>
          </a:xfrm>
        </p:spPr>
        <p:txBody>
          <a:bodyPr anchor="t">
            <a:normAutofit/>
          </a:bodyPr>
          <a:lstStyle>
            <a:lvl1pPr marL="0" algn="r">
              <a:lnSpc>
                <a:spcPts val="2200"/>
              </a:lnSpc>
              <a:defRPr sz="1800">
                <a:solidFill>
                  <a:schemeClr val="bg1"/>
                </a:solidFill>
              </a:defRPr>
            </a:lvl1pPr>
          </a:lstStyle>
          <a:p>
            <a:pPr marL="0" lvl="0"/>
            <a:r>
              <a:rPr lang="en-US" dirty="0"/>
              <a:t>Click to insert presenter, location, and date</a:t>
            </a:r>
          </a:p>
        </p:txBody>
      </p:sp>
      <p:sp>
        <p:nvSpPr>
          <p:cNvPr id="12" name="Retângulo 43">
            <a:extLst>
              <a:ext uri="{FF2B5EF4-FFF2-40B4-BE49-F238E27FC236}">
                <a16:creationId xmlns:a16="http://schemas.microsoft.com/office/drawing/2014/main" id="{3438B419-9ACF-4B7E-BE49-812AAF076106}"/>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1" name="Rectangle 27">
            <a:hlinkClick r:id="rId6"/>
            <a:extLst>
              <a:ext uri="{FF2B5EF4-FFF2-40B4-BE49-F238E27FC236}">
                <a16:creationId xmlns:a16="http://schemas.microsoft.com/office/drawing/2014/main" id="{F9392CE8-E97C-43E1-88F4-80687F0C5F62}"/>
              </a:ext>
            </a:extLst>
          </p:cNvPr>
          <p:cNvSpPr/>
          <p:nvPr userDrawn="1"/>
        </p:nvSpPr>
        <p:spPr>
          <a:xfrm>
            <a:off x="407988" y="6555971"/>
            <a:ext cx="2468880" cy="219456"/>
          </a:xfrm>
          <a:prstGeom prst="rect">
            <a:avLst/>
          </a:prstGeom>
        </p:spPr>
        <p:txBody>
          <a:bodyPr wrap="square" lIns="0" tIns="0" rIns="0" bIns="0" anchor="ctr" anchorCtr="0">
            <a:noAutofit/>
          </a:bodyPr>
          <a:lstStyle/>
          <a:p>
            <a:pPr lvl="0" algn="l" defTabSz="914400">
              <a:lnSpc>
                <a:spcPct val="100000"/>
              </a:lnSpc>
              <a:defRPr/>
            </a:pPr>
            <a:r>
              <a:rPr lang="en-US" sz="800" kern="0" dirty="0">
                <a:solidFill>
                  <a:srgbClr val="00458D"/>
                </a:solidFill>
                <a:latin typeface="+mj-lt"/>
                <a:cs typeface="Arial" panose="020B0604020202020204" pitchFamily="34" charset="0"/>
              </a:rPr>
              <a:t>Capgemini’s Global Utilities Sector | June</a:t>
            </a:r>
            <a:r>
              <a:rPr lang="en-US" sz="800" kern="0" baseline="0" dirty="0">
                <a:solidFill>
                  <a:srgbClr val="00458D"/>
                </a:solidFill>
                <a:latin typeface="+mj-lt"/>
                <a:cs typeface="Arial" panose="020B0604020202020204" pitchFamily="34" charset="0"/>
              </a:rPr>
              <a:t> 2018</a:t>
            </a:r>
            <a:endParaRPr lang="en-US" sz="800" kern="0" dirty="0">
              <a:solidFill>
                <a:srgbClr val="00458D"/>
              </a:solidFill>
              <a:latin typeface="+mj-lt"/>
              <a:cs typeface="Arial" panose="020B0604020202020204" pitchFamily="34" charset="0"/>
            </a:endParaRPr>
          </a:p>
        </p:txBody>
      </p:sp>
      <p:sp>
        <p:nvSpPr>
          <p:cNvPr id="17" name="Retângulo 43">
            <a:extLst>
              <a:ext uri="{FF2B5EF4-FFF2-40B4-BE49-F238E27FC236}">
                <a16:creationId xmlns:a16="http://schemas.microsoft.com/office/drawing/2014/main" id="{F4C3E97D-369C-4DEC-AC2C-207006ED2644}"/>
              </a:ext>
            </a:extLst>
          </p:cNvPr>
          <p:cNvSpPr/>
          <p:nvPr userDrawn="1"/>
        </p:nvSpPr>
        <p:spPr>
          <a:xfrm>
            <a:off x="9425389" y="6555758"/>
            <a:ext cx="2223686" cy="219456"/>
          </a:xfrm>
          <a:prstGeom prst="rect">
            <a:avLst/>
          </a:prstGeom>
        </p:spPr>
        <p:txBody>
          <a:bodyPr wrap="none" lIns="0" tIns="0" rIns="0" bIns="0" anchor="ctr">
            <a:noAutofit/>
          </a:bodyPr>
          <a:lstStyle/>
          <a:p>
            <a:pPr algn="r">
              <a:lnSpc>
                <a:spcPct val="100000"/>
              </a:lnSpc>
            </a:pPr>
            <a:r>
              <a:rPr lang="en-US" sz="800" dirty="0">
                <a:solidFill>
                  <a:schemeClr val="bg1"/>
                </a:solidFill>
                <a:cs typeface="Arial" panose="020B0604020202020204" pitchFamily="34" charset="0"/>
              </a:rPr>
              <a:t>© 2018 Capgemini. All rights reserved.</a:t>
            </a:r>
          </a:p>
        </p:txBody>
      </p:sp>
    </p:spTree>
    <p:extLst>
      <p:ext uri="{BB962C8B-B14F-4D97-AF65-F5344CB8AC3E}">
        <p14:creationId xmlns:p14="http://schemas.microsoft.com/office/powerpoint/2010/main" val="12193120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Vide">
    <p:bg>
      <p:bgPr>
        <a:solidFill>
          <a:srgbClr val="EDEDED"/>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4098"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Freeform 8"/>
          <p:cNvSpPr/>
          <p:nvPr userDrawn="1"/>
        </p:nvSpPr>
        <p:spPr>
          <a:xfrm flipH="1">
            <a:off x="-4" y="2"/>
            <a:ext cx="5677239" cy="6089301"/>
          </a:xfrm>
          <a:custGeom>
            <a:avLst/>
            <a:gdLst>
              <a:gd name="connsiteX0" fmla="*/ 0 w 5970850"/>
              <a:gd name="connsiteY0" fmla="*/ 0 h 2083136"/>
              <a:gd name="connsiteX1" fmla="*/ 5970850 w 5970850"/>
              <a:gd name="connsiteY1" fmla="*/ 0 h 2083136"/>
              <a:gd name="connsiteX2" fmla="*/ 5970850 w 5970850"/>
              <a:gd name="connsiteY2" fmla="*/ 726675 h 2083136"/>
              <a:gd name="connsiteX3" fmla="*/ 4614389 w 5970850"/>
              <a:gd name="connsiteY3" fmla="*/ 2083136 h 2083136"/>
              <a:gd name="connsiteX4" fmla="*/ 0 w 5970850"/>
              <a:gd name="connsiteY4" fmla="*/ 0 h 2083136"/>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70850"/>
              <a:gd name="connsiteY0" fmla="*/ 0 h 2088795"/>
              <a:gd name="connsiteX1" fmla="*/ 5970850 w 5970850"/>
              <a:gd name="connsiteY1" fmla="*/ 0 h 2088795"/>
              <a:gd name="connsiteX2" fmla="*/ 5970850 w 5970850"/>
              <a:gd name="connsiteY2" fmla="*/ 726675 h 2088795"/>
              <a:gd name="connsiteX3" fmla="*/ 4568669 w 5970850"/>
              <a:gd name="connsiteY3" fmla="*/ 2086946 h 2088795"/>
              <a:gd name="connsiteX4" fmla="*/ 0 w 5970850"/>
              <a:gd name="connsiteY4" fmla="*/ 0 h 2088795"/>
              <a:gd name="connsiteX0" fmla="*/ 0 w 5970850"/>
              <a:gd name="connsiteY0" fmla="*/ 0 h 2088947"/>
              <a:gd name="connsiteX1" fmla="*/ 5970850 w 5970850"/>
              <a:gd name="connsiteY1" fmla="*/ 0 h 2088947"/>
              <a:gd name="connsiteX2" fmla="*/ 5970850 w 5970850"/>
              <a:gd name="connsiteY2" fmla="*/ 726675 h 2088947"/>
              <a:gd name="connsiteX3" fmla="*/ 4568669 w 5970850"/>
              <a:gd name="connsiteY3" fmla="*/ 2086946 h 2088947"/>
              <a:gd name="connsiteX4" fmla="*/ 0 w 5970850"/>
              <a:gd name="connsiteY4" fmla="*/ 0 h 2088947"/>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25130"/>
              <a:gd name="connsiteY0" fmla="*/ 0 h 2086946"/>
              <a:gd name="connsiteX1" fmla="*/ 5925130 w 5925130"/>
              <a:gd name="connsiteY1" fmla="*/ 0 h 2086946"/>
              <a:gd name="connsiteX2" fmla="*/ 5925130 w 5925130"/>
              <a:gd name="connsiteY2" fmla="*/ 726675 h 2086946"/>
              <a:gd name="connsiteX3" fmla="*/ 4522949 w 5925130"/>
              <a:gd name="connsiteY3" fmla="*/ 2086946 h 2086946"/>
              <a:gd name="connsiteX4" fmla="*/ 0 w 5925130"/>
              <a:gd name="connsiteY4" fmla="*/ 0 h 2086946"/>
              <a:gd name="connsiteX0" fmla="*/ 0 w 5940370"/>
              <a:gd name="connsiteY0" fmla="*/ 0 h 2086946"/>
              <a:gd name="connsiteX1" fmla="*/ 5940370 w 5940370"/>
              <a:gd name="connsiteY1" fmla="*/ 0 h 2086946"/>
              <a:gd name="connsiteX2" fmla="*/ 5940370 w 5940370"/>
              <a:gd name="connsiteY2" fmla="*/ 726675 h 2086946"/>
              <a:gd name="connsiteX3" fmla="*/ 4538189 w 5940370"/>
              <a:gd name="connsiteY3" fmla="*/ 2086946 h 2086946"/>
              <a:gd name="connsiteX4" fmla="*/ 0 w 5940370"/>
              <a:gd name="connsiteY4" fmla="*/ 0 h 2086946"/>
              <a:gd name="connsiteX0" fmla="*/ 0 w 5940370"/>
              <a:gd name="connsiteY0" fmla="*/ 0 h 2086946"/>
              <a:gd name="connsiteX1" fmla="*/ 5940370 w 5940370"/>
              <a:gd name="connsiteY1" fmla="*/ 0 h 2086946"/>
              <a:gd name="connsiteX2" fmla="*/ 5940370 w 5940370"/>
              <a:gd name="connsiteY2" fmla="*/ 726675 h 2086946"/>
              <a:gd name="connsiteX3" fmla="*/ 4538189 w 5940370"/>
              <a:gd name="connsiteY3" fmla="*/ 2086946 h 2086946"/>
              <a:gd name="connsiteX4" fmla="*/ 0 w 5940370"/>
              <a:gd name="connsiteY4" fmla="*/ 0 h 2086946"/>
              <a:gd name="connsiteX0" fmla="*/ 0 w 5940370"/>
              <a:gd name="connsiteY0" fmla="*/ 0 h 2075516"/>
              <a:gd name="connsiteX1" fmla="*/ 5940370 w 5940370"/>
              <a:gd name="connsiteY1" fmla="*/ 0 h 2075516"/>
              <a:gd name="connsiteX2" fmla="*/ 5940370 w 5940370"/>
              <a:gd name="connsiteY2" fmla="*/ 726675 h 2075516"/>
              <a:gd name="connsiteX3" fmla="*/ 4583909 w 5940370"/>
              <a:gd name="connsiteY3" fmla="*/ 2075516 h 2075516"/>
              <a:gd name="connsiteX4" fmla="*/ 0 w 5940370"/>
              <a:gd name="connsiteY4" fmla="*/ 0 h 2075516"/>
              <a:gd name="connsiteX0" fmla="*/ 0 w 5940370"/>
              <a:gd name="connsiteY0" fmla="*/ 0 h 2075528"/>
              <a:gd name="connsiteX1" fmla="*/ 5940370 w 5940370"/>
              <a:gd name="connsiteY1" fmla="*/ 0 h 2075528"/>
              <a:gd name="connsiteX2" fmla="*/ 5940370 w 5940370"/>
              <a:gd name="connsiteY2" fmla="*/ 726675 h 2075528"/>
              <a:gd name="connsiteX3" fmla="*/ 458390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8390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6866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6866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68669 w 5940370"/>
              <a:gd name="connsiteY3" fmla="*/ 2075516 h 2075528"/>
              <a:gd name="connsiteX4" fmla="*/ 0 w 5940370"/>
              <a:gd name="connsiteY4" fmla="*/ 0 h 2075528"/>
              <a:gd name="connsiteX0" fmla="*/ 0 w 5940370"/>
              <a:gd name="connsiteY0" fmla="*/ 0 h 2075720"/>
              <a:gd name="connsiteX1" fmla="*/ 5940370 w 5940370"/>
              <a:gd name="connsiteY1" fmla="*/ 0 h 2075720"/>
              <a:gd name="connsiteX2" fmla="*/ 5940370 w 5940370"/>
              <a:gd name="connsiteY2" fmla="*/ 726675 h 2075720"/>
              <a:gd name="connsiteX3" fmla="*/ 4568669 w 5940370"/>
              <a:gd name="connsiteY3" fmla="*/ 2075516 h 2075720"/>
              <a:gd name="connsiteX4" fmla="*/ 0 w 5940370"/>
              <a:gd name="connsiteY4" fmla="*/ 0 h 2075720"/>
              <a:gd name="connsiteX0" fmla="*/ 0 w 5940370"/>
              <a:gd name="connsiteY0" fmla="*/ 0 h 5394042"/>
              <a:gd name="connsiteX1" fmla="*/ 5940370 w 5940370"/>
              <a:gd name="connsiteY1" fmla="*/ 0 h 5394042"/>
              <a:gd name="connsiteX2" fmla="*/ 5940370 w 5940370"/>
              <a:gd name="connsiteY2" fmla="*/ 726675 h 5394042"/>
              <a:gd name="connsiteX3" fmla="*/ 2709867 w 5940370"/>
              <a:gd name="connsiteY3" fmla="*/ 5394001 h 5394042"/>
              <a:gd name="connsiteX4" fmla="*/ 0 w 5940370"/>
              <a:gd name="connsiteY4" fmla="*/ 0 h 5394042"/>
              <a:gd name="connsiteX0" fmla="*/ 0 w 5940370"/>
              <a:gd name="connsiteY0" fmla="*/ 0 h 5381930"/>
              <a:gd name="connsiteX1" fmla="*/ 5940370 w 5940370"/>
              <a:gd name="connsiteY1" fmla="*/ 0 h 5381930"/>
              <a:gd name="connsiteX2" fmla="*/ 5940370 w 5940370"/>
              <a:gd name="connsiteY2" fmla="*/ 726675 h 5381930"/>
              <a:gd name="connsiteX3" fmla="*/ 2722865 w 5940370"/>
              <a:gd name="connsiteY3" fmla="*/ 5381889 h 5381930"/>
              <a:gd name="connsiteX4" fmla="*/ 0 w 5940370"/>
              <a:gd name="connsiteY4" fmla="*/ 0 h 5381930"/>
              <a:gd name="connsiteX0" fmla="*/ 0 w 5940370"/>
              <a:gd name="connsiteY0" fmla="*/ 0 h 5489299"/>
              <a:gd name="connsiteX1" fmla="*/ 5940370 w 5940370"/>
              <a:gd name="connsiteY1" fmla="*/ 0 h 5489299"/>
              <a:gd name="connsiteX2" fmla="*/ 5920872 w 5940370"/>
              <a:gd name="connsiteY2" fmla="*/ 5183618 h 5489299"/>
              <a:gd name="connsiteX3" fmla="*/ 2722865 w 5940370"/>
              <a:gd name="connsiteY3" fmla="*/ 5381889 h 5489299"/>
              <a:gd name="connsiteX4" fmla="*/ 0 w 5940370"/>
              <a:gd name="connsiteY4" fmla="*/ 0 h 5489299"/>
              <a:gd name="connsiteX0" fmla="*/ 0 w 5942246"/>
              <a:gd name="connsiteY0" fmla="*/ 0 h 5489299"/>
              <a:gd name="connsiteX1" fmla="*/ 5940370 w 5942246"/>
              <a:gd name="connsiteY1" fmla="*/ 0 h 5489299"/>
              <a:gd name="connsiteX2" fmla="*/ 5940370 w 5942246"/>
              <a:gd name="connsiteY2" fmla="*/ 5183618 h 5489299"/>
              <a:gd name="connsiteX3" fmla="*/ 2722865 w 5942246"/>
              <a:gd name="connsiteY3" fmla="*/ 5381889 h 5489299"/>
              <a:gd name="connsiteX4" fmla="*/ 0 w 5942246"/>
              <a:gd name="connsiteY4" fmla="*/ 0 h 5489299"/>
              <a:gd name="connsiteX0" fmla="*/ 0 w 5942246"/>
              <a:gd name="connsiteY0" fmla="*/ 0 h 5709307"/>
              <a:gd name="connsiteX1" fmla="*/ 5940370 w 5942246"/>
              <a:gd name="connsiteY1" fmla="*/ 0 h 5709307"/>
              <a:gd name="connsiteX2" fmla="*/ 5940370 w 5942246"/>
              <a:gd name="connsiteY2" fmla="*/ 5183618 h 5709307"/>
              <a:gd name="connsiteX3" fmla="*/ 2722865 w 5942246"/>
              <a:gd name="connsiteY3" fmla="*/ 5381889 h 5709307"/>
              <a:gd name="connsiteX4" fmla="*/ 0 w 5942246"/>
              <a:gd name="connsiteY4" fmla="*/ 0 h 5709307"/>
              <a:gd name="connsiteX0" fmla="*/ 0 w 5942246"/>
              <a:gd name="connsiteY0" fmla="*/ 0 h 5672586"/>
              <a:gd name="connsiteX1" fmla="*/ 5940370 w 5942246"/>
              <a:gd name="connsiteY1" fmla="*/ 0 h 5672586"/>
              <a:gd name="connsiteX2" fmla="*/ 5940370 w 5942246"/>
              <a:gd name="connsiteY2" fmla="*/ 5183618 h 5672586"/>
              <a:gd name="connsiteX3" fmla="*/ 2722865 w 5942246"/>
              <a:gd name="connsiteY3" fmla="*/ 5381889 h 5672586"/>
              <a:gd name="connsiteX4" fmla="*/ 0 w 5942246"/>
              <a:gd name="connsiteY4" fmla="*/ 0 h 5672586"/>
              <a:gd name="connsiteX0" fmla="*/ 0 w 5942246"/>
              <a:gd name="connsiteY0" fmla="*/ 0 h 5948634"/>
              <a:gd name="connsiteX1" fmla="*/ 5940370 w 5942246"/>
              <a:gd name="connsiteY1" fmla="*/ 0 h 5948634"/>
              <a:gd name="connsiteX2" fmla="*/ 5940370 w 5942246"/>
              <a:gd name="connsiteY2" fmla="*/ 5183618 h 5948634"/>
              <a:gd name="connsiteX3" fmla="*/ 2722865 w 5942246"/>
              <a:gd name="connsiteY3" fmla="*/ 5381889 h 5948634"/>
              <a:gd name="connsiteX4" fmla="*/ 0 w 5942246"/>
              <a:gd name="connsiteY4" fmla="*/ 0 h 5948634"/>
              <a:gd name="connsiteX0" fmla="*/ 0 w 5942246"/>
              <a:gd name="connsiteY0" fmla="*/ 0 h 5931549"/>
              <a:gd name="connsiteX1" fmla="*/ 5940370 w 5942246"/>
              <a:gd name="connsiteY1" fmla="*/ 0 h 5931549"/>
              <a:gd name="connsiteX2" fmla="*/ 5940370 w 5942246"/>
              <a:gd name="connsiteY2" fmla="*/ 5183618 h 5931549"/>
              <a:gd name="connsiteX3" fmla="*/ 2722865 w 5942246"/>
              <a:gd name="connsiteY3" fmla="*/ 5381889 h 5931549"/>
              <a:gd name="connsiteX4" fmla="*/ 0 w 5942246"/>
              <a:gd name="connsiteY4" fmla="*/ 0 h 5931549"/>
              <a:gd name="connsiteX0" fmla="*/ 0 w 5942246"/>
              <a:gd name="connsiteY0" fmla="*/ 0 h 5944852"/>
              <a:gd name="connsiteX1" fmla="*/ 5940370 w 5942246"/>
              <a:gd name="connsiteY1" fmla="*/ 0 h 5944852"/>
              <a:gd name="connsiteX2" fmla="*/ 5940370 w 5942246"/>
              <a:gd name="connsiteY2" fmla="*/ 5183618 h 5944852"/>
              <a:gd name="connsiteX3" fmla="*/ 2781359 w 5942246"/>
              <a:gd name="connsiteY3" fmla="*/ 5400056 h 5944852"/>
              <a:gd name="connsiteX4" fmla="*/ 0 w 5942246"/>
              <a:gd name="connsiteY4" fmla="*/ 0 h 5944852"/>
              <a:gd name="connsiteX0" fmla="*/ 0 w 5942246"/>
              <a:gd name="connsiteY0" fmla="*/ 0 h 5944852"/>
              <a:gd name="connsiteX1" fmla="*/ 5940370 w 5942246"/>
              <a:gd name="connsiteY1" fmla="*/ 0 h 5944852"/>
              <a:gd name="connsiteX2" fmla="*/ 5940370 w 5942246"/>
              <a:gd name="connsiteY2" fmla="*/ 5183618 h 5944852"/>
              <a:gd name="connsiteX3" fmla="*/ 2781359 w 5942246"/>
              <a:gd name="connsiteY3" fmla="*/ 5400056 h 5944852"/>
              <a:gd name="connsiteX4" fmla="*/ 0 w 5942246"/>
              <a:gd name="connsiteY4" fmla="*/ 0 h 5944852"/>
              <a:gd name="connsiteX0" fmla="*/ 0 w 5942246"/>
              <a:gd name="connsiteY0" fmla="*/ 0 h 5900827"/>
              <a:gd name="connsiteX1" fmla="*/ 5940370 w 5942246"/>
              <a:gd name="connsiteY1" fmla="*/ 0 h 5900827"/>
              <a:gd name="connsiteX2" fmla="*/ 5940370 w 5942246"/>
              <a:gd name="connsiteY2" fmla="*/ 5183618 h 5900827"/>
              <a:gd name="connsiteX3" fmla="*/ 2709867 w 5942246"/>
              <a:gd name="connsiteY3" fmla="*/ 5339500 h 5900827"/>
              <a:gd name="connsiteX4" fmla="*/ 0 w 5942246"/>
              <a:gd name="connsiteY4" fmla="*/ 0 h 5900827"/>
              <a:gd name="connsiteX0" fmla="*/ 0 w 5942246"/>
              <a:gd name="connsiteY0" fmla="*/ 0 h 5900827"/>
              <a:gd name="connsiteX1" fmla="*/ 5940370 w 5942246"/>
              <a:gd name="connsiteY1" fmla="*/ 0 h 5900827"/>
              <a:gd name="connsiteX2" fmla="*/ 5940370 w 5942246"/>
              <a:gd name="connsiteY2" fmla="*/ 5183618 h 5900827"/>
              <a:gd name="connsiteX3" fmla="*/ 2709867 w 5942246"/>
              <a:gd name="connsiteY3" fmla="*/ 5339500 h 5900827"/>
              <a:gd name="connsiteX4" fmla="*/ 0 w 5942246"/>
              <a:gd name="connsiteY4" fmla="*/ 0 h 5900827"/>
              <a:gd name="connsiteX0" fmla="*/ 0 w 5942246"/>
              <a:gd name="connsiteY0" fmla="*/ 0 h 5900827"/>
              <a:gd name="connsiteX1" fmla="*/ 5940370 w 5942246"/>
              <a:gd name="connsiteY1" fmla="*/ 0 h 5900827"/>
              <a:gd name="connsiteX2" fmla="*/ 5940370 w 5942246"/>
              <a:gd name="connsiteY2" fmla="*/ 5183618 h 5900827"/>
              <a:gd name="connsiteX3" fmla="*/ 2709867 w 5942246"/>
              <a:gd name="connsiteY3" fmla="*/ 5339500 h 5900827"/>
              <a:gd name="connsiteX4" fmla="*/ 0 w 5942246"/>
              <a:gd name="connsiteY4" fmla="*/ 0 h 5900827"/>
              <a:gd name="connsiteX0" fmla="*/ 0 w 5942246"/>
              <a:gd name="connsiteY0" fmla="*/ 0 h 5900827"/>
              <a:gd name="connsiteX1" fmla="*/ 5940370 w 5942246"/>
              <a:gd name="connsiteY1" fmla="*/ 0 h 5900827"/>
              <a:gd name="connsiteX2" fmla="*/ 5940370 w 5942246"/>
              <a:gd name="connsiteY2" fmla="*/ 5183618 h 5900827"/>
              <a:gd name="connsiteX3" fmla="*/ 2709867 w 5942246"/>
              <a:gd name="connsiteY3" fmla="*/ 5339500 h 5900827"/>
              <a:gd name="connsiteX4" fmla="*/ 0 w 5942246"/>
              <a:gd name="connsiteY4" fmla="*/ 0 h 5900827"/>
              <a:gd name="connsiteX0" fmla="*/ 0 w 5942246"/>
              <a:gd name="connsiteY0" fmla="*/ 0 h 5938447"/>
              <a:gd name="connsiteX1" fmla="*/ 5940370 w 5942246"/>
              <a:gd name="connsiteY1" fmla="*/ 0 h 5938447"/>
              <a:gd name="connsiteX2" fmla="*/ 5940370 w 5942246"/>
              <a:gd name="connsiteY2" fmla="*/ 5183618 h 5938447"/>
              <a:gd name="connsiteX3" fmla="*/ 2709867 w 5942246"/>
              <a:gd name="connsiteY3" fmla="*/ 5339500 h 5938447"/>
              <a:gd name="connsiteX4" fmla="*/ 0 w 5942246"/>
              <a:gd name="connsiteY4" fmla="*/ 0 h 5938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42246" h="5938447">
                <a:moveTo>
                  <a:pt x="0" y="0"/>
                </a:moveTo>
                <a:lnTo>
                  <a:pt x="5940370" y="0"/>
                </a:lnTo>
                <a:cubicBezTo>
                  <a:pt x="5933871" y="1727873"/>
                  <a:pt x="5946869" y="3455745"/>
                  <a:pt x="5940370" y="5183618"/>
                </a:cubicBezTo>
                <a:cubicBezTo>
                  <a:pt x="5649138" y="5507350"/>
                  <a:pt x="3902952" y="6614277"/>
                  <a:pt x="2709867" y="5339500"/>
                </a:cubicBezTo>
                <a:cubicBezTo>
                  <a:pt x="3232707" y="4545548"/>
                  <a:pt x="234667" y="1659579"/>
                  <a:pt x="0" y="0"/>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Arial" pitchFamily="34" charset="0"/>
              <a:cs typeface="Arial" pitchFamily="34" charset="0"/>
            </a:endParaRPr>
          </a:p>
        </p:txBody>
      </p:sp>
      <p:sp>
        <p:nvSpPr>
          <p:cNvPr id="10" name="Title Placeholder 1"/>
          <p:cNvSpPr>
            <a:spLocks noGrp="1"/>
          </p:cNvSpPr>
          <p:nvPr>
            <p:ph type="title"/>
          </p:nvPr>
        </p:nvSpPr>
        <p:spPr>
          <a:xfrm>
            <a:off x="18486" y="33684"/>
            <a:ext cx="5360733" cy="1097280"/>
          </a:xfrm>
          <a:prstGeom prst="rect">
            <a:avLst/>
          </a:prstGeom>
          <a:noFill/>
          <a:ln w="9525" algn="ctr">
            <a:noFill/>
            <a:miter lim="800000"/>
            <a:headEnd/>
            <a:tailEnd/>
          </a:ln>
          <a:effectLst/>
        </p:spPr>
        <p:txBody>
          <a:bodyPr vert="horz" wrap="square" lIns="274320" tIns="36576" rIns="0" bIns="0" numCol="1" anchor="ctr" anchorCtr="0" compatLnSpc="1">
            <a:prstTxWarp prst="textNoShape">
              <a:avLst/>
            </a:prstTxWarp>
          </a:bodyPr>
          <a:lstStyle>
            <a:lvl1pPr>
              <a:defRPr b="0">
                <a:solidFill>
                  <a:schemeClr val="bg1"/>
                </a:solidFill>
                <a:effectLst/>
                <a:latin typeface="Verdana" panose="020B0604030504040204" pitchFamily="34" charset="0"/>
                <a:ea typeface="Verdana" panose="020B0604030504040204" pitchFamily="34" charset="0"/>
                <a:cs typeface="Verdana" panose="020B0604030504040204" pitchFamily="34" charset="0"/>
              </a:defRPr>
            </a:lvl1pPr>
          </a:lstStyle>
          <a:p>
            <a:r>
              <a:rPr lang="en-US" dirty="0"/>
              <a:t>Click to edit Master title style</a:t>
            </a:r>
          </a:p>
        </p:txBody>
      </p:sp>
      <p:pic>
        <p:nvPicPr>
          <p:cNvPr id="11"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81836" t="-4713" b="16530"/>
          <a:stretch/>
        </p:blipFill>
        <p:spPr>
          <a:xfrm>
            <a:off x="11351531" y="251520"/>
            <a:ext cx="565808" cy="612832"/>
          </a:xfrm>
          <a:prstGeom prst="rect">
            <a:avLst/>
          </a:prstGeom>
        </p:spPr>
      </p:pic>
    </p:spTree>
    <p:extLst>
      <p:ext uri="{BB962C8B-B14F-4D97-AF65-F5344CB8AC3E}">
        <p14:creationId xmlns:p14="http://schemas.microsoft.com/office/powerpoint/2010/main" val="44007659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2" name="Rectangle 1"/>
          <p:cNvSpPr/>
          <p:nvPr userDrawn="1"/>
        </p:nvSpPr>
        <p:spPr>
          <a:xfrm>
            <a:off x="0" y="6217920"/>
            <a:ext cx="5893701" cy="64008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grpSp>
        <p:nvGrpSpPr>
          <p:cNvPr id="14" name="Group 13"/>
          <p:cNvGrpSpPr/>
          <p:nvPr/>
        </p:nvGrpSpPr>
        <p:grpSpPr>
          <a:xfrm>
            <a:off x="5149756" y="2450"/>
            <a:ext cx="7060713" cy="6860165"/>
            <a:chOff x="2088634" y="1836"/>
            <a:chExt cx="7057105" cy="6856659"/>
          </a:xfrm>
        </p:grpSpPr>
        <p:sp>
          <p:nvSpPr>
            <p:cNvPr id="15" name="Freeform 14"/>
            <p:cNvSpPr/>
            <p:nvPr userDrawn="1"/>
          </p:nvSpPr>
          <p:spPr>
            <a:xfrm rot="10800000" flipV="1">
              <a:off x="2765729" y="1836"/>
              <a:ext cx="6377472" cy="4012978"/>
            </a:xfrm>
            <a:custGeom>
              <a:avLst/>
              <a:gdLst>
                <a:gd name="connsiteX0" fmla="*/ 3573556 w 3573556"/>
                <a:gd name="connsiteY0" fmla="*/ 1801906 h 2844053"/>
                <a:gd name="connsiteX1" fmla="*/ 0 w 3573556"/>
                <a:gd name="connsiteY1" fmla="*/ 0 h 2844053"/>
                <a:gd name="connsiteX2" fmla="*/ 6724 w 3573556"/>
                <a:gd name="connsiteY2" fmla="*/ 2844053 h 2844053"/>
                <a:gd name="connsiteX3" fmla="*/ 3573556 w 3573556"/>
                <a:gd name="connsiteY3" fmla="*/ 1801906 h 2844053"/>
                <a:gd name="connsiteX0" fmla="*/ 3603812 w 3603812"/>
                <a:gd name="connsiteY0" fmla="*/ 1725470 h 2844053"/>
                <a:gd name="connsiteX1" fmla="*/ 0 w 3603812"/>
                <a:gd name="connsiteY1" fmla="*/ 0 h 2844053"/>
                <a:gd name="connsiteX2" fmla="*/ 6724 w 3603812"/>
                <a:gd name="connsiteY2" fmla="*/ 2844053 h 2844053"/>
                <a:gd name="connsiteX3" fmla="*/ 3603812 w 3603812"/>
                <a:gd name="connsiteY3" fmla="*/ 1725470 h 2844053"/>
                <a:gd name="connsiteX0" fmla="*/ 3603812 w 3603812"/>
                <a:gd name="connsiteY0" fmla="*/ 1725470 h 2844053"/>
                <a:gd name="connsiteX1" fmla="*/ 0 w 3603812"/>
                <a:gd name="connsiteY1" fmla="*/ 0 h 2844053"/>
                <a:gd name="connsiteX2" fmla="*/ 6724 w 3603812"/>
                <a:gd name="connsiteY2" fmla="*/ 2844053 h 2844053"/>
                <a:gd name="connsiteX3" fmla="*/ 3603812 w 3603812"/>
                <a:gd name="connsiteY3" fmla="*/ 1725470 h 2844053"/>
                <a:gd name="connsiteX0" fmla="*/ 3603812 w 3603812"/>
                <a:gd name="connsiteY0" fmla="*/ 1719100 h 2837683"/>
                <a:gd name="connsiteX1" fmla="*/ 0 w 3603812"/>
                <a:gd name="connsiteY1" fmla="*/ 0 h 2837683"/>
                <a:gd name="connsiteX2" fmla="*/ 6724 w 3603812"/>
                <a:gd name="connsiteY2" fmla="*/ 2837683 h 2837683"/>
                <a:gd name="connsiteX3" fmla="*/ 3603812 w 3603812"/>
                <a:gd name="connsiteY3" fmla="*/ 1719100 h 2837683"/>
                <a:gd name="connsiteX0" fmla="*/ 3603812 w 3603812"/>
                <a:gd name="connsiteY0" fmla="*/ 1719100 h 2837683"/>
                <a:gd name="connsiteX1" fmla="*/ 0 w 3603812"/>
                <a:gd name="connsiteY1" fmla="*/ 0 h 2837683"/>
                <a:gd name="connsiteX2" fmla="*/ 6724 w 3603812"/>
                <a:gd name="connsiteY2" fmla="*/ 2837683 h 2837683"/>
                <a:gd name="connsiteX3" fmla="*/ 3603812 w 3603812"/>
                <a:gd name="connsiteY3" fmla="*/ 1719100 h 2837683"/>
                <a:gd name="connsiteX0" fmla="*/ 3659796 w 3659796"/>
                <a:gd name="connsiteY0" fmla="*/ 1783924 h 2837683"/>
                <a:gd name="connsiteX1" fmla="*/ 0 w 3659796"/>
                <a:gd name="connsiteY1" fmla="*/ 0 h 2837683"/>
                <a:gd name="connsiteX2" fmla="*/ 6724 w 3659796"/>
                <a:gd name="connsiteY2" fmla="*/ 2837683 h 2837683"/>
                <a:gd name="connsiteX3" fmla="*/ 3659796 w 3659796"/>
                <a:gd name="connsiteY3" fmla="*/ 1783924 h 2837683"/>
                <a:gd name="connsiteX0" fmla="*/ 3659796 w 3659796"/>
                <a:gd name="connsiteY0" fmla="*/ 1783924 h 2835771"/>
                <a:gd name="connsiteX1" fmla="*/ 0 w 3659796"/>
                <a:gd name="connsiteY1" fmla="*/ 0 h 2835771"/>
                <a:gd name="connsiteX2" fmla="*/ 3698 w 3659796"/>
                <a:gd name="connsiteY2" fmla="*/ 2835771 h 2835771"/>
                <a:gd name="connsiteX3" fmla="*/ 3659796 w 3659796"/>
                <a:gd name="connsiteY3" fmla="*/ 1783924 h 2835771"/>
                <a:gd name="connsiteX0" fmla="*/ 3659796 w 3687181"/>
                <a:gd name="connsiteY0" fmla="*/ 1886116 h 2937963"/>
                <a:gd name="connsiteX1" fmla="*/ 1590719 w 3687181"/>
                <a:gd name="connsiteY1" fmla="*/ 744248 h 2937963"/>
                <a:gd name="connsiteX2" fmla="*/ 0 w 3687181"/>
                <a:gd name="connsiteY2" fmla="*/ 102192 h 2937963"/>
                <a:gd name="connsiteX3" fmla="*/ 3698 w 3687181"/>
                <a:gd name="connsiteY3" fmla="*/ 2937963 h 2937963"/>
                <a:gd name="connsiteX4" fmla="*/ 3659796 w 3687181"/>
                <a:gd name="connsiteY4" fmla="*/ 1886116 h 2937963"/>
                <a:gd name="connsiteX0" fmla="*/ 3656139 w 3683524"/>
                <a:gd name="connsiteY0" fmla="*/ 1301371 h 2353218"/>
                <a:gd name="connsiteX1" fmla="*/ 1587062 w 3683524"/>
                <a:gd name="connsiteY1" fmla="*/ 159503 h 2353218"/>
                <a:gd name="connsiteX2" fmla="*/ 86287 w 3683524"/>
                <a:gd name="connsiteY2" fmla="*/ 373101 h 2353218"/>
                <a:gd name="connsiteX3" fmla="*/ 41 w 3683524"/>
                <a:gd name="connsiteY3" fmla="*/ 2353218 h 2353218"/>
                <a:gd name="connsiteX4" fmla="*/ 3656139 w 3683524"/>
                <a:gd name="connsiteY4" fmla="*/ 1301371 h 2353218"/>
                <a:gd name="connsiteX0" fmla="*/ 3656739 w 3684124"/>
                <a:gd name="connsiteY0" fmla="*/ 1383295 h 2435142"/>
                <a:gd name="connsiteX1" fmla="*/ 1587662 w 3684124"/>
                <a:gd name="connsiteY1" fmla="*/ 241427 h 2435142"/>
                <a:gd name="connsiteX2" fmla="*/ 690 w 3684124"/>
                <a:gd name="connsiteY2" fmla="*/ 256201 h 2435142"/>
                <a:gd name="connsiteX3" fmla="*/ 641 w 3684124"/>
                <a:gd name="connsiteY3" fmla="*/ 2435142 h 2435142"/>
                <a:gd name="connsiteX4" fmla="*/ 3656739 w 3684124"/>
                <a:gd name="connsiteY4" fmla="*/ 1383295 h 2435142"/>
                <a:gd name="connsiteX0" fmla="*/ 3656739 w 3684124"/>
                <a:gd name="connsiteY0" fmla="*/ 1269523 h 2321370"/>
                <a:gd name="connsiteX1" fmla="*/ 1587662 w 3684124"/>
                <a:gd name="connsiteY1" fmla="*/ 127655 h 2321370"/>
                <a:gd name="connsiteX2" fmla="*/ 690 w 3684124"/>
                <a:gd name="connsiteY2" fmla="*/ 142429 h 2321370"/>
                <a:gd name="connsiteX3" fmla="*/ 641 w 3684124"/>
                <a:gd name="connsiteY3" fmla="*/ 2321370 h 2321370"/>
                <a:gd name="connsiteX4" fmla="*/ 3656739 w 3684124"/>
                <a:gd name="connsiteY4" fmla="*/ 1269523 h 2321370"/>
                <a:gd name="connsiteX0" fmla="*/ 3656739 w 3684124"/>
                <a:gd name="connsiteY0" fmla="*/ 1141868 h 2193715"/>
                <a:gd name="connsiteX1" fmla="*/ 1587662 w 3684124"/>
                <a:gd name="connsiteY1" fmla="*/ 0 h 2193715"/>
                <a:gd name="connsiteX2" fmla="*/ 690 w 3684124"/>
                <a:gd name="connsiteY2" fmla="*/ 14774 h 2193715"/>
                <a:gd name="connsiteX3" fmla="*/ 641 w 3684124"/>
                <a:gd name="connsiteY3" fmla="*/ 2193715 h 2193715"/>
                <a:gd name="connsiteX4" fmla="*/ 3656739 w 3684124"/>
                <a:gd name="connsiteY4" fmla="*/ 1141868 h 2193715"/>
                <a:gd name="connsiteX0" fmla="*/ 3656739 w 3656739"/>
                <a:gd name="connsiteY0" fmla="*/ 1141868 h 2193715"/>
                <a:gd name="connsiteX1" fmla="*/ 1587662 w 3656739"/>
                <a:gd name="connsiteY1" fmla="*/ 0 h 2193715"/>
                <a:gd name="connsiteX2" fmla="*/ 690 w 3656739"/>
                <a:gd name="connsiteY2" fmla="*/ 14774 h 2193715"/>
                <a:gd name="connsiteX3" fmla="*/ 641 w 3656739"/>
                <a:gd name="connsiteY3" fmla="*/ 2193715 h 2193715"/>
                <a:gd name="connsiteX4" fmla="*/ 3656739 w 3656739"/>
                <a:gd name="connsiteY4" fmla="*/ 1141868 h 2193715"/>
                <a:gd name="connsiteX0" fmla="*/ 3656739 w 3656739"/>
                <a:gd name="connsiteY0" fmla="*/ 1127094 h 2178941"/>
                <a:gd name="connsiteX1" fmla="*/ 1600640 w 3656739"/>
                <a:gd name="connsiteY1" fmla="*/ 155 h 2178941"/>
                <a:gd name="connsiteX2" fmla="*/ 690 w 3656739"/>
                <a:gd name="connsiteY2" fmla="*/ 0 h 2178941"/>
                <a:gd name="connsiteX3" fmla="*/ 641 w 3656739"/>
                <a:gd name="connsiteY3" fmla="*/ 2178941 h 2178941"/>
                <a:gd name="connsiteX4" fmla="*/ 3656739 w 3656739"/>
                <a:gd name="connsiteY4" fmla="*/ 1127094 h 2178941"/>
                <a:gd name="connsiteX0" fmla="*/ 3656739 w 3656739"/>
                <a:gd name="connsiteY0" fmla="*/ 1129574 h 2181421"/>
                <a:gd name="connsiteX1" fmla="*/ 1600640 w 3656739"/>
                <a:gd name="connsiteY1" fmla="*/ 0 h 2181421"/>
                <a:gd name="connsiteX2" fmla="*/ 690 w 3656739"/>
                <a:gd name="connsiteY2" fmla="*/ 2480 h 2181421"/>
                <a:gd name="connsiteX3" fmla="*/ 641 w 3656739"/>
                <a:gd name="connsiteY3" fmla="*/ 2181421 h 2181421"/>
                <a:gd name="connsiteX4" fmla="*/ 3656739 w 3656739"/>
                <a:gd name="connsiteY4" fmla="*/ 1129574 h 2181421"/>
                <a:gd name="connsiteX0" fmla="*/ 3656650 w 3656650"/>
                <a:gd name="connsiteY0" fmla="*/ 1129574 h 2181421"/>
                <a:gd name="connsiteX1" fmla="*/ 1600551 w 3656650"/>
                <a:gd name="connsiteY1" fmla="*/ 0 h 2181421"/>
                <a:gd name="connsiteX2" fmla="*/ 1528 w 3656650"/>
                <a:gd name="connsiteY2" fmla="*/ 2480 h 2181421"/>
                <a:gd name="connsiteX3" fmla="*/ 552 w 3656650"/>
                <a:gd name="connsiteY3" fmla="*/ 2181421 h 2181421"/>
                <a:gd name="connsiteX4" fmla="*/ 3656650 w 3656650"/>
                <a:gd name="connsiteY4" fmla="*/ 1129574 h 2181421"/>
                <a:gd name="connsiteX0" fmla="*/ 3657167 w 3657167"/>
                <a:gd name="connsiteY0" fmla="*/ 1129574 h 2181421"/>
                <a:gd name="connsiteX1" fmla="*/ 1601068 w 3657167"/>
                <a:gd name="connsiteY1" fmla="*/ 0 h 2181421"/>
                <a:gd name="connsiteX2" fmla="*/ 2045 w 3657167"/>
                <a:gd name="connsiteY2" fmla="*/ 2480 h 2181421"/>
                <a:gd name="connsiteX3" fmla="*/ 1069 w 3657167"/>
                <a:gd name="connsiteY3" fmla="*/ 2181421 h 2181421"/>
                <a:gd name="connsiteX4" fmla="*/ 3657167 w 3657167"/>
                <a:gd name="connsiteY4" fmla="*/ 1129574 h 2181421"/>
                <a:gd name="connsiteX0" fmla="*/ 3659337 w 3659337"/>
                <a:gd name="connsiteY0" fmla="*/ 1129574 h 2181421"/>
                <a:gd name="connsiteX1" fmla="*/ 1603238 w 3659337"/>
                <a:gd name="connsiteY1" fmla="*/ 0 h 2181421"/>
                <a:gd name="connsiteX2" fmla="*/ 507 w 3659337"/>
                <a:gd name="connsiteY2" fmla="*/ 724 h 2181421"/>
                <a:gd name="connsiteX3" fmla="*/ 3239 w 3659337"/>
                <a:gd name="connsiteY3" fmla="*/ 2181421 h 2181421"/>
                <a:gd name="connsiteX4" fmla="*/ 3659337 w 3659337"/>
                <a:gd name="connsiteY4" fmla="*/ 1129574 h 2181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9337" h="2181421">
                  <a:moveTo>
                    <a:pt x="3659337" y="1129574"/>
                  </a:moveTo>
                  <a:cubicBezTo>
                    <a:pt x="2653378" y="444416"/>
                    <a:pt x="2213204" y="297321"/>
                    <a:pt x="1603238" y="0"/>
                  </a:cubicBezTo>
                  <a:lnTo>
                    <a:pt x="507" y="724"/>
                  </a:lnTo>
                  <a:cubicBezTo>
                    <a:pt x="-960" y="399868"/>
                    <a:pt x="998" y="1233403"/>
                    <a:pt x="3239" y="2181421"/>
                  </a:cubicBezTo>
                  <a:lnTo>
                    <a:pt x="3659337" y="1129574"/>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44"/>
            </a:p>
          </p:txBody>
        </p:sp>
        <p:sp>
          <p:nvSpPr>
            <p:cNvPr id="16" name="Freeform 15"/>
            <p:cNvSpPr/>
            <p:nvPr userDrawn="1"/>
          </p:nvSpPr>
          <p:spPr>
            <a:xfrm rot="10800000" flipV="1">
              <a:off x="2088634" y="1741246"/>
              <a:ext cx="7057105" cy="5117249"/>
            </a:xfrm>
            <a:custGeom>
              <a:avLst/>
              <a:gdLst>
                <a:gd name="connsiteX0" fmla="*/ 3560164 w 3560164"/>
                <a:gd name="connsiteY0" fmla="*/ 2885606 h 2885606"/>
                <a:gd name="connsiteX1" fmla="*/ 0 w 3560164"/>
                <a:gd name="connsiteY1" fmla="*/ 2848131 h 2885606"/>
                <a:gd name="connsiteX2" fmla="*/ 14990 w 3560164"/>
                <a:gd name="connsiteY2" fmla="*/ 517160 h 2885606"/>
                <a:gd name="connsiteX3" fmla="*/ 314793 w 3560164"/>
                <a:gd name="connsiteY3" fmla="*/ 929390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378666 w 3560164"/>
                <a:gd name="connsiteY3" fmla="*/ 1531146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3168208 h 3168208"/>
                <a:gd name="connsiteX1" fmla="*/ 0 w 3560164"/>
                <a:gd name="connsiteY1" fmla="*/ 3130733 h 3168208"/>
                <a:gd name="connsiteX2" fmla="*/ 14990 w 3560164"/>
                <a:gd name="connsiteY2" fmla="*/ 799762 h 3168208"/>
                <a:gd name="connsiteX3" fmla="*/ 297984 w 3560164"/>
                <a:gd name="connsiteY3" fmla="*/ 1201906 h 3168208"/>
                <a:gd name="connsiteX4" fmla="*/ 3515193 w 3560164"/>
                <a:gd name="connsiteY4" fmla="*/ 282602 h 3168208"/>
                <a:gd name="connsiteX5" fmla="*/ 3560164 w 3560164"/>
                <a:gd name="connsiteY5" fmla="*/ 3168208 h 3168208"/>
                <a:gd name="connsiteX0" fmla="*/ 3560164 w 3995016"/>
                <a:gd name="connsiteY0" fmla="*/ 3066756 h 3066756"/>
                <a:gd name="connsiteX1" fmla="*/ 0 w 3995016"/>
                <a:gd name="connsiteY1" fmla="*/ 3029281 h 3066756"/>
                <a:gd name="connsiteX2" fmla="*/ 14990 w 3995016"/>
                <a:gd name="connsiteY2" fmla="*/ 698310 h 3066756"/>
                <a:gd name="connsiteX3" fmla="*/ 297984 w 3995016"/>
                <a:gd name="connsiteY3" fmla="*/ 1100454 h 3066756"/>
                <a:gd name="connsiteX4" fmla="*/ 3515193 w 3995016"/>
                <a:gd name="connsiteY4" fmla="*/ 181150 h 3066756"/>
                <a:gd name="connsiteX5" fmla="*/ 3560164 w 3995016"/>
                <a:gd name="connsiteY5" fmla="*/ 3066756 h 3066756"/>
                <a:gd name="connsiteX0" fmla="*/ 3560164 w 4081667"/>
                <a:gd name="connsiteY0" fmla="*/ 3066756 h 3066756"/>
                <a:gd name="connsiteX1" fmla="*/ 0 w 4081667"/>
                <a:gd name="connsiteY1" fmla="*/ 3029281 h 3066756"/>
                <a:gd name="connsiteX2" fmla="*/ 14990 w 4081667"/>
                <a:gd name="connsiteY2" fmla="*/ 698310 h 3066756"/>
                <a:gd name="connsiteX3" fmla="*/ 297984 w 4081667"/>
                <a:gd name="connsiteY3" fmla="*/ 1100454 h 3066756"/>
                <a:gd name="connsiteX4" fmla="*/ 3515193 w 4081667"/>
                <a:gd name="connsiteY4" fmla="*/ 181150 h 3066756"/>
                <a:gd name="connsiteX5" fmla="*/ 3560164 w 4081667"/>
                <a:gd name="connsiteY5" fmla="*/ 3066756 h 3066756"/>
                <a:gd name="connsiteX0" fmla="*/ 3560164 w 3972124"/>
                <a:gd name="connsiteY0" fmla="*/ 2986772 h 2986772"/>
                <a:gd name="connsiteX1" fmla="*/ 0 w 3972124"/>
                <a:gd name="connsiteY1" fmla="*/ 2949297 h 2986772"/>
                <a:gd name="connsiteX2" fmla="*/ 14990 w 3972124"/>
                <a:gd name="connsiteY2" fmla="*/ 618326 h 2986772"/>
                <a:gd name="connsiteX3" fmla="*/ 297984 w 3972124"/>
                <a:gd name="connsiteY3" fmla="*/ 1020470 h 2986772"/>
                <a:gd name="connsiteX4" fmla="*/ 3515193 w 3972124"/>
                <a:gd name="connsiteY4" fmla="*/ 101166 h 2986772"/>
                <a:gd name="connsiteX5" fmla="*/ 3560164 w 3972124"/>
                <a:gd name="connsiteY5" fmla="*/ 2986772 h 2986772"/>
                <a:gd name="connsiteX0" fmla="*/ 3560164 w 3851466"/>
                <a:gd name="connsiteY0" fmla="*/ 2932294 h 2932294"/>
                <a:gd name="connsiteX1" fmla="*/ 0 w 3851466"/>
                <a:gd name="connsiteY1" fmla="*/ 2894819 h 2932294"/>
                <a:gd name="connsiteX2" fmla="*/ 14990 w 3851466"/>
                <a:gd name="connsiteY2" fmla="*/ 563848 h 2932294"/>
                <a:gd name="connsiteX3" fmla="*/ 297984 w 3851466"/>
                <a:gd name="connsiteY3" fmla="*/ 965992 h 2932294"/>
                <a:gd name="connsiteX4" fmla="*/ 3515193 w 3851466"/>
                <a:gd name="connsiteY4" fmla="*/ 46688 h 2932294"/>
                <a:gd name="connsiteX5" fmla="*/ 3560164 w 3851466"/>
                <a:gd name="connsiteY5" fmla="*/ 2932294 h 2932294"/>
                <a:gd name="connsiteX0" fmla="*/ 3560164 w 3851466"/>
                <a:gd name="connsiteY0" fmla="*/ 2923744 h 2923744"/>
                <a:gd name="connsiteX1" fmla="*/ 0 w 3851466"/>
                <a:gd name="connsiteY1" fmla="*/ 2886269 h 2923744"/>
                <a:gd name="connsiteX2" fmla="*/ 14990 w 3851466"/>
                <a:gd name="connsiteY2" fmla="*/ 555298 h 2923744"/>
                <a:gd name="connsiteX3" fmla="*/ 297984 w 3851466"/>
                <a:gd name="connsiteY3" fmla="*/ 957442 h 2923744"/>
                <a:gd name="connsiteX4" fmla="*/ 3515193 w 3851466"/>
                <a:gd name="connsiteY4" fmla="*/ 38138 h 2923744"/>
                <a:gd name="connsiteX5" fmla="*/ 3560164 w 3851466"/>
                <a:gd name="connsiteY5" fmla="*/ 2923744 h 2923744"/>
                <a:gd name="connsiteX0" fmla="*/ 3560164 w 3868339"/>
                <a:gd name="connsiteY0" fmla="*/ 2887665 h 2887665"/>
                <a:gd name="connsiteX1" fmla="*/ 0 w 3868339"/>
                <a:gd name="connsiteY1" fmla="*/ 2850190 h 2887665"/>
                <a:gd name="connsiteX2" fmla="*/ 14990 w 3868339"/>
                <a:gd name="connsiteY2" fmla="*/ 519219 h 2887665"/>
                <a:gd name="connsiteX3" fmla="*/ 297984 w 3868339"/>
                <a:gd name="connsiteY3" fmla="*/ 921363 h 2887665"/>
                <a:gd name="connsiteX4" fmla="*/ 3545449 w 3868339"/>
                <a:gd name="connsiteY4" fmla="*/ 39038 h 2887665"/>
                <a:gd name="connsiteX5" fmla="*/ 3560164 w 3868339"/>
                <a:gd name="connsiteY5" fmla="*/ 2887665 h 2887665"/>
                <a:gd name="connsiteX0" fmla="*/ 3560164 w 4050446"/>
                <a:gd name="connsiteY0" fmla="*/ 2944210 h 2944210"/>
                <a:gd name="connsiteX1" fmla="*/ 0 w 4050446"/>
                <a:gd name="connsiteY1" fmla="*/ 2906735 h 2944210"/>
                <a:gd name="connsiteX2" fmla="*/ 14990 w 4050446"/>
                <a:gd name="connsiteY2" fmla="*/ 575764 h 2944210"/>
                <a:gd name="connsiteX3" fmla="*/ 297984 w 4050446"/>
                <a:gd name="connsiteY3" fmla="*/ 977908 h 2944210"/>
                <a:gd name="connsiteX4" fmla="*/ 3545449 w 4050446"/>
                <a:gd name="connsiteY4" fmla="*/ 95583 h 2944210"/>
                <a:gd name="connsiteX5" fmla="*/ 3560164 w 4050446"/>
                <a:gd name="connsiteY5" fmla="*/ 2944210 h 2944210"/>
                <a:gd name="connsiteX0" fmla="*/ 3560164 w 3989640"/>
                <a:gd name="connsiteY0" fmla="*/ 2924406 h 2924406"/>
                <a:gd name="connsiteX1" fmla="*/ 0 w 3989640"/>
                <a:gd name="connsiteY1" fmla="*/ 2886931 h 2924406"/>
                <a:gd name="connsiteX2" fmla="*/ 14990 w 3989640"/>
                <a:gd name="connsiteY2" fmla="*/ 555960 h 2924406"/>
                <a:gd name="connsiteX3" fmla="*/ 297984 w 3989640"/>
                <a:gd name="connsiteY3" fmla="*/ 958104 h 2924406"/>
                <a:gd name="connsiteX4" fmla="*/ 3545449 w 3989640"/>
                <a:gd name="connsiteY4" fmla="*/ 75779 h 2924406"/>
                <a:gd name="connsiteX5" fmla="*/ 3560164 w 3989640"/>
                <a:gd name="connsiteY5" fmla="*/ 2924406 h 2924406"/>
                <a:gd name="connsiteX0" fmla="*/ 3560164 w 4014175"/>
                <a:gd name="connsiteY0" fmla="*/ 2948316 h 2948316"/>
                <a:gd name="connsiteX1" fmla="*/ 0 w 4014175"/>
                <a:gd name="connsiteY1" fmla="*/ 2910841 h 2948316"/>
                <a:gd name="connsiteX2" fmla="*/ 14990 w 4014175"/>
                <a:gd name="connsiteY2" fmla="*/ 579870 h 2948316"/>
                <a:gd name="connsiteX3" fmla="*/ 297984 w 4014175"/>
                <a:gd name="connsiteY3" fmla="*/ 982014 h 2948316"/>
                <a:gd name="connsiteX4" fmla="*/ 3545449 w 4014175"/>
                <a:gd name="connsiteY4" fmla="*/ 99689 h 2948316"/>
                <a:gd name="connsiteX5" fmla="*/ 3560164 w 4014175"/>
                <a:gd name="connsiteY5" fmla="*/ 2948316 h 2948316"/>
                <a:gd name="connsiteX0" fmla="*/ 3560164 w 4014175"/>
                <a:gd name="connsiteY0" fmla="*/ 2946856 h 2946856"/>
                <a:gd name="connsiteX1" fmla="*/ 0 w 4014175"/>
                <a:gd name="connsiteY1" fmla="*/ 2909381 h 2946856"/>
                <a:gd name="connsiteX2" fmla="*/ 14990 w 4014175"/>
                <a:gd name="connsiteY2" fmla="*/ 578410 h 2946856"/>
                <a:gd name="connsiteX3" fmla="*/ 297984 w 4014175"/>
                <a:gd name="connsiteY3" fmla="*/ 980554 h 2946856"/>
                <a:gd name="connsiteX4" fmla="*/ 3545449 w 4014175"/>
                <a:gd name="connsiteY4" fmla="*/ 98229 h 2946856"/>
                <a:gd name="connsiteX5" fmla="*/ 3560164 w 4014175"/>
                <a:gd name="connsiteY5" fmla="*/ 2946856 h 2946856"/>
                <a:gd name="connsiteX0" fmla="*/ 3583696 w 3892754"/>
                <a:gd name="connsiteY0" fmla="*/ 2889822 h 2889822"/>
                <a:gd name="connsiteX1" fmla="*/ 0 w 3892754"/>
                <a:gd name="connsiteY1" fmla="*/ 2859071 h 2889822"/>
                <a:gd name="connsiteX2" fmla="*/ 14990 w 3892754"/>
                <a:gd name="connsiteY2" fmla="*/ 528100 h 2889822"/>
                <a:gd name="connsiteX3" fmla="*/ 297984 w 3892754"/>
                <a:gd name="connsiteY3" fmla="*/ 930244 h 2889822"/>
                <a:gd name="connsiteX4" fmla="*/ 3545449 w 3892754"/>
                <a:gd name="connsiteY4" fmla="*/ 47919 h 2889822"/>
                <a:gd name="connsiteX5" fmla="*/ 3583696 w 3892754"/>
                <a:gd name="connsiteY5" fmla="*/ 2889822 h 2889822"/>
                <a:gd name="connsiteX0" fmla="*/ 3583696 w 4065589"/>
                <a:gd name="connsiteY0" fmla="*/ 2889822 h 2889822"/>
                <a:gd name="connsiteX1" fmla="*/ 0 w 4065589"/>
                <a:gd name="connsiteY1" fmla="*/ 2859071 h 2889822"/>
                <a:gd name="connsiteX2" fmla="*/ 14990 w 4065589"/>
                <a:gd name="connsiteY2" fmla="*/ 528100 h 2889822"/>
                <a:gd name="connsiteX3" fmla="*/ 297984 w 4065589"/>
                <a:gd name="connsiteY3" fmla="*/ 930244 h 2889822"/>
                <a:gd name="connsiteX4" fmla="*/ 3545449 w 4065589"/>
                <a:gd name="connsiteY4" fmla="*/ 47919 h 2889822"/>
                <a:gd name="connsiteX5" fmla="*/ 3583696 w 4065589"/>
                <a:gd name="connsiteY5" fmla="*/ 2889822 h 2889822"/>
                <a:gd name="connsiteX0" fmla="*/ 3583696 w 4193107"/>
                <a:gd name="connsiteY0" fmla="*/ 2939141 h 2939141"/>
                <a:gd name="connsiteX1" fmla="*/ 0 w 4193107"/>
                <a:gd name="connsiteY1" fmla="*/ 2908390 h 2939141"/>
                <a:gd name="connsiteX2" fmla="*/ 14990 w 4193107"/>
                <a:gd name="connsiteY2" fmla="*/ 577419 h 2939141"/>
                <a:gd name="connsiteX3" fmla="*/ 297984 w 4193107"/>
                <a:gd name="connsiteY3" fmla="*/ 979563 h 2939141"/>
                <a:gd name="connsiteX4" fmla="*/ 3545449 w 4193107"/>
                <a:gd name="connsiteY4" fmla="*/ 97238 h 2939141"/>
                <a:gd name="connsiteX5" fmla="*/ 3583696 w 4193107"/>
                <a:gd name="connsiteY5" fmla="*/ 2939141 h 2939141"/>
                <a:gd name="connsiteX0" fmla="*/ 3583696 w 4066579"/>
                <a:gd name="connsiteY0" fmla="*/ 2939141 h 2939141"/>
                <a:gd name="connsiteX1" fmla="*/ 0 w 4066579"/>
                <a:gd name="connsiteY1" fmla="*/ 2908390 h 2939141"/>
                <a:gd name="connsiteX2" fmla="*/ 14990 w 4066579"/>
                <a:gd name="connsiteY2" fmla="*/ 577419 h 2939141"/>
                <a:gd name="connsiteX3" fmla="*/ 297984 w 4066579"/>
                <a:gd name="connsiteY3" fmla="*/ 979563 h 2939141"/>
                <a:gd name="connsiteX4" fmla="*/ 3545449 w 4066579"/>
                <a:gd name="connsiteY4" fmla="*/ 97238 h 2939141"/>
                <a:gd name="connsiteX5" fmla="*/ 3583696 w 4066579"/>
                <a:gd name="connsiteY5" fmla="*/ 2939141 h 2939141"/>
                <a:gd name="connsiteX0" fmla="*/ 3583696 w 4058392"/>
                <a:gd name="connsiteY0" fmla="*/ 2935948 h 2935948"/>
                <a:gd name="connsiteX1" fmla="*/ 0 w 4058392"/>
                <a:gd name="connsiteY1" fmla="*/ 2905197 h 2935948"/>
                <a:gd name="connsiteX2" fmla="*/ 14990 w 4058392"/>
                <a:gd name="connsiteY2" fmla="*/ 574226 h 2935948"/>
                <a:gd name="connsiteX3" fmla="*/ 297984 w 4058392"/>
                <a:gd name="connsiteY3" fmla="*/ 976370 h 2935948"/>
                <a:gd name="connsiteX4" fmla="*/ 3532002 w 4058392"/>
                <a:gd name="connsiteY4" fmla="*/ 97407 h 2935948"/>
                <a:gd name="connsiteX5" fmla="*/ 3583696 w 4058392"/>
                <a:gd name="connsiteY5" fmla="*/ 2935948 h 2935948"/>
                <a:gd name="connsiteX0" fmla="*/ 3578226 w 4052922"/>
                <a:gd name="connsiteY0" fmla="*/ 2935948 h 2935948"/>
                <a:gd name="connsiteX1" fmla="*/ 0 w 4052922"/>
                <a:gd name="connsiteY1" fmla="*/ 2927075 h 2935948"/>
                <a:gd name="connsiteX2" fmla="*/ 9520 w 4052922"/>
                <a:gd name="connsiteY2" fmla="*/ 574226 h 2935948"/>
                <a:gd name="connsiteX3" fmla="*/ 292514 w 4052922"/>
                <a:gd name="connsiteY3" fmla="*/ 976370 h 2935948"/>
                <a:gd name="connsiteX4" fmla="*/ 3526532 w 4052922"/>
                <a:gd name="connsiteY4" fmla="*/ 97407 h 2935948"/>
                <a:gd name="connsiteX5" fmla="*/ 3578226 w 4052922"/>
                <a:gd name="connsiteY5" fmla="*/ 2935948 h 2935948"/>
                <a:gd name="connsiteX0" fmla="*/ 3578226 w 4052922"/>
                <a:gd name="connsiteY0" fmla="*/ 2935948 h 2935948"/>
                <a:gd name="connsiteX1" fmla="*/ 0 w 4052922"/>
                <a:gd name="connsiteY1" fmla="*/ 2927075 h 2935948"/>
                <a:gd name="connsiteX2" fmla="*/ 9520 w 4052922"/>
                <a:gd name="connsiteY2" fmla="*/ 574226 h 2935948"/>
                <a:gd name="connsiteX3" fmla="*/ 292514 w 4052922"/>
                <a:gd name="connsiteY3" fmla="*/ 976370 h 2935948"/>
                <a:gd name="connsiteX4" fmla="*/ 3526532 w 4052922"/>
                <a:gd name="connsiteY4" fmla="*/ 97407 h 2935948"/>
                <a:gd name="connsiteX5" fmla="*/ 3578226 w 4052922"/>
                <a:gd name="connsiteY5" fmla="*/ 2935948 h 2935948"/>
                <a:gd name="connsiteX0" fmla="*/ 3571087 w 4045783"/>
                <a:gd name="connsiteY0" fmla="*/ 2935948 h 2935948"/>
                <a:gd name="connsiteX1" fmla="*/ 0 w 4045783"/>
                <a:gd name="connsiteY1" fmla="*/ 2934213 h 2935948"/>
                <a:gd name="connsiteX2" fmla="*/ 2381 w 4045783"/>
                <a:gd name="connsiteY2" fmla="*/ 574226 h 2935948"/>
                <a:gd name="connsiteX3" fmla="*/ 285375 w 4045783"/>
                <a:gd name="connsiteY3" fmla="*/ 976370 h 2935948"/>
                <a:gd name="connsiteX4" fmla="*/ 3519393 w 4045783"/>
                <a:gd name="connsiteY4" fmla="*/ 97407 h 2935948"/>
                <a:gd name="connsiteX5" fmla="*/ 3571087 w 4045783"/>
                <a:gd name="connsiteY5" fmla="*/ 2935948 h 2935948"/>
                <a:gd name="connsiteX0" fmla="*/ 3570078 w 4044774"/>
                <a:gd name="connsiteY0" fmla="*/ 2935948 h 2935948"/>
                <a:gd name="connsiteX1" fmla="*/ 2018 w 4044774"/>
                <a:gd name="connsiteY1" fmla="*/ 2931187 h 2935948"/>
                <a:gd name="connsiteX2" fmla="*/ 1372 w 4044774"/>
                <a:gd name="connsiteY2" fmla="*/ 574226 h 2935948"/>
                <a:gd name="connsiteX3" fmla="*/ 284366 w 4044774"/>
                <a:gd name="connsiteY3" fmla="*/ 976370 h 2935948"/>
                <a:gd name="connsiteX4" fmla="*/ 3518384 w 4044774"/>
                <a:gd name="connsiteY4" fmla="*/ 97407 h 2935948"/>
                <a:gd name="connsiteX5" fmla="*/ 3570078 w 4044774"/>
                <a:gd name="connsiteY5" fmla="*/ 2935948 h 2935948"/>
                <a:gd name="connsiteX0" fmla="*/ 3571087 w 4045783"/>
                <a:gd name="connsiteY0" fmla="*/ 2935948 h 2936232"/>
                <a:gd name="connsiteX1" fmla="*/ 0 w 4045783"/>
                <a:gd name="connsiteY1" fmla="*/ 2936232 h 2936232"/>
                <a:gd name="connsiteX2" fmla="*/ 2381 w 4045783"/>
                <a:gd name="connsiteY2" fmla="*/ 574226 h 2936232"/>
                <a:gd name="connsiteX3" fmla="*/ 285375 w 4045783"/>
                <a:gd name="connsiteY3" fmla="*/ 976370 h 2936232"/>
                <a:gd name="connsiteX4" fmla="*/ 3519393 w 4045783"/>
                <a:gd name="connsiteY4" fmla="*/ 97407 h 2936232"/>
                <a:gd name="connsiteX5" fmla="*/ 3571087 w 4045783"/>
                <a:gd name="connsiteY5" fmla="*/ 2935948 h 2936232"/>
                <a:gd name="connsiteX0" fmla="*/ 3571789 w 4046485"/>
                <a:gd name="connsiteY0" fmla="*/ 2935948 h 2936232"/>
                <a:gd name="connsiteX1" fmla="*/ 702 w 4046485"/>
                <a:gd name="connsiteY1" fmla="*/ 2936232 h 2936232"/>
                <a:gd name="connsiteX2" fmla="*/ 3083 w 4046485"/>
                <a:gd name="connsiteY2" fmla="*/ 574226 h 2936232"/>
                <a:gd name="connsiteX3" fmla="*/ 286077 w 4046485"/>
                <a:gd name="connsiteY3" fmla="*/ 976370 h 2936232"/>
                <a:gd name="connsiteX4" fmla="*/ 3520095 w 4046485"/>
                <a:gd name="connsiteY4" fmla="*/ 97407 h 2936232"/>
                <a:gd name="connsiteX5" fmla="*/ 3571789 w 4046485"/>
                <a:gd name="connsiteY5" fmla="*/ 2935948 h 2936232"/>
                <a:gd name="connsiteX0" fmla="*/ 3574610 w 4049306"/>
                <a:gd name="connsiteY0" fmla="*/ 2935948 h 2936232"/>
                <a:gd name="connsiteX1" fmla="*/ 3523 w 4049306"/>
                <a:gd name="connsiteY1" fmla="*/ 2936232 h 2936232"/>
                <a:gd name="connsiteX2" fmla="*/ 1868 w 4049306"/>
                <a:gd name="connsiteY2" fmla="*/ 566154 h 2936232"/>
                <a:gd name="connsiteX3" fmla="*/ 288898 w 4049306"/>
                <a:gd name="connsiteY3" fmla="*/ 976370 h 2936232"/>
                <a:gd name="connsiteX4" fmla="*/ 3522916 w 4049306"/>
                <a:gd name="connsiteY4" fmla="*/ 97407 h 2936232"/>
                <a:gd name="connsiteX5" fmla="*/ 3574610 w 4049306"/>
                <a:gd name="connsiteY5" fmla="*/ 2935948 h 293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49306" h="2936232">
                  <a:moveTo>
                    <a:pt x="3574610" y="2935948"/>
                  </a:moveTo>
                  <a:lnTo>
                    <a:pt x="3523" y="2936232"/>
                  </a:lnTo>
                  <a:cubicBezTo>
                    <a:pt x="3475" y="2780779"/>
                    <a:pt x="-3129" y="1343144"/>
                    <a:pt x="1868" y="566154"/>
                  </a:cubicBezTo>
                  <a:lnTo>
                    <a:pt x="288898" y="976370"/>
                  </a:lnTo>
                  <a:cubicBezTo>
                    <a:pt x="1178186" y="1226354"/>
                    <a:pt x="2618950" y="-407363"/>
                    <a:pt x="3522916" y="97407"/>
                  </a:cubicBezTo>
                  <a:cubicBezTo>
                    <a:pt x="4426882" y="602177"/>
                    <a:pt x="3976479" y="2347234"/>
                    <a:pt x="3574610" y="2935948"/>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44"/>
            </a:p>
          </p:txBody>
        </p:sp>
      </p:grpSp>
      <p:sp>
        <p:nvSpPr>
          <p:cNvPr id="17"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543984" y="3578203"/>
            <a:ext cx="4605772" cy="1159933"/>
          </a:xfrm>
        </p:spPr>
        <p:txBody>
          <a:bodyPr lIns="0" tIns="0" rIns="0" bIns="0" anchor="b">
            <a:normAutofit/>
          </a:bodyPr>
          <a:lstStyle>
            <a:lvl1pPr marL="0" indent="0" algn="l">
              <a:lnSpc>
                <a:spcPct val="100000"/>
              </a:lnSpc>
              <a:buNone/>
              <a:defRPr sz="36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defRPr sz="2400">
                <a:solidFill>
                  <a:schemeClr val="bg1"/>
                </a:solidFill>
              </a:defRPr>
            </a:lvl2pPr>
          </a:lstStyle>
          <a:p>
            <a:pPr lvl="0"/>
            <a:r>
              <a:rPr lang="en-US"/>
              <a:t>Click to insert title</a:t>
            </a:r>
            <a:endParaRPr lang="pt-PT"/>
          </a:p>
        </p:txBody>
      </p:sp>
      <p:sp>
        <p:nvSpPr>
          <p:cNvPr id="19"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543983" y="4891485"/>
            <a:ext cx="3894591" cy="1595120"/>
          </a:xfrm>
        </p:spPr>
        <p:txBody>
          <a:bodyPr lIns="0" tIns="0" rIns="0" bIns="0">
            <a:normAutofit/>
          </a:bodyPr>
          <a:lstStyle>
            <a:lvl1pPr marL="0" indent="0" algn="l">
              <a:lnSpc>
                <a:spcPct val="100000"/>
              </a:lnSpc>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defRPr sz="1600">
                <a:solidFill>
                  <a:schemeClr val="bg1"/>
                </a:solidFill>
              </a:defRPr>
            </a:lvl2pPr>
          </a:lstStyle>
          <a:p>
            <a:pPr lvl="0"/>
            <a:r>
              <a:rPr lang="en-US"/>
              <a:t>Click to insert presenter, location, and date</a:t>
            </a:r>
            <a:endParaRPr lang="pt-PT"/>
          </a:p>
        </p:txBody>
      </p:sp>
      <p:pic>
        <p:nvPicPr>
          <p:cNvPr id="20"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3984" y="539751"/>
            <a:ext cx="3087429" cy="688815"/>
          </a:xfrm>
          <a:prstGeom prst="rect">
            <a:avLst/>
          </a:prstGeom>
        </p:spPr>
      </p:pic>
      <p:graphicFrame>
        <p:nvGraphicFramePr>
          <p:cNvPr id="5" name="Object 4" hidden="1"/>
          <p:cNvGraphicFramePr>
            <a:graphicFrameLocks noChangeAspect="1"/>
          </p:cNvGraphicFramePr>
          <p:nvPr>
            <p:custDataLst>
              <p:tags r:id="rId2"/>
            </p:custDataLst>
          </p:nvPr>
        </p:nvGraphicFramePr>
        <p:xfrm>
          <a:off x="1" y="1"/>
          <a:ext cx="195384" cy="158751"/>
        </p:xfrm>
        <a:graphic>
          <a:graphicData uri="http://schemas.openxmlformats.org/presentationml/2006/ole">
            <mc:AlternateContent xmlns:mc="http://schemas.openxmlformats.org/markup-compatibility/2006">
              <mc:Choice xmlns:v="urn:schemas-microsoft-com:vml" Requires="v">
                <p:oleObj spid="_x0000_s16386"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3" name="Straight Connector 2"/>
          <p:cNvCxnSpPr/>
          <p:nvPr/>
        </p:nvCxnSpPr>
        <p:spPr>
          <a:xfrm>
            <a:off x="3839360" y="539751"/>
            <a:ext cx="0" cy="478821"/>
          </a:xfrm>
          <a:prstGeom prst="line">
            <a:avLst/>
          </a:prstGeom>
          <a:ln w="1905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493132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Section break 3">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4" cstate="print">
            <a:extLst>
              <a:ext uri="{28A0092B-C50C-407E-A947-70E740481C1C}">
                <a14:useLocalDpi xmlns:a14="http://schemas.microsoft.com/office/drawing/2010/main" val="0"/>
              </a:ext>
            </a:extLst>
          </a:blip>
          <a:srcRect t="15433"/>
          <a:stretch/>
        </p:blipFill>
        <p:spPr>
          <a:xfrm>
            <a:off x="0" y="-19050"/>
            <a:ext cx="12192000" cy="6877050"/>
          </a:xfrm>
          <a:prstGeom prst="rect">
            <a:avLst/>
          </a:prstGeom>
        </p:spPr>
      </p:pic>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7410" name="think-cell Slide" r:id="rId5" imgW="270" imgH="270" progId="TCLayout.ActiveDocument.1">
                  <p:embed/>
                </p:oleObj>
              </mc:Choice>
              <mc:Fallback>
                <p:oleObj name="think-cell Slide" r:id="rId5" imgW="270" imgH="270" progId="TCLayout.ActiveDocument.1">
                  <p:embed/>
                  <p:pic>
                    <p:nvPicPr>
                      <p:cNvPr id="10" name="Object 9"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Freeform 10"/>
          <p:cNvSpPr>
            <a:spLocks/>
          </p:cNvSpPr>
          <p:nvPr userDrawn="1"/>
        </p:nvSpPr>
        <p:spPr bwMode="auto">
          <a:xfrm flipH="1">
            <a:off x="8260081" y="0"/>
            <a:ext cx="4060049" cy="6858000"/>
          </a:xfrm>
          <a:custGeom>
            <a:avLst/>
            <a:gdLst>
              <a:gd name="connsiteX0" fmla="*/ 0 w 4060049"/>
              <a:gd name="connsiteY0" fmla="*/ 0 h 6858000"/>
              <a:gd name="connsiteX1" fmla="*/ 958936 w 4060049"/>
              <a:gd name="connsiteY1" fmla="*/ 0 h 6858000"/>
              <a:gd name="connsiteX2" fmla="*/ 1009242 w 4060049"/>
              <a:gd name="connsiteY2" fmla="*/ 32361 h 6858000"/>
              <a:gd name="connsiteX3" fmla="*/ 4060049 w 4060049"/>
              <a:gd name="connsiteY3" fmla="*/ 2178950 h 6858000"/>
              <a:gd name="connsiteX4" fmla="*/ 2165204 w 4060049"/>
              <a:gd name="connsiteY4" fmla="*/ 6858000 h 6858000"/>
              <a:gd name="connsiteX5" fmla="*/ 1618614 w 4060049"/>
              <a:gd name="connsiteY5" fmla="*/ 6858000 h 6858000"/>
              <a:gd name="connsiteX6" fmla="*/ 1582175 w 4060049"/>
              <a:gd name="connsiteY6" fmla="*/ 5837647 h 6858000"/>
              <a:gd name="connsiteX7" fmla="*/ 6944 w 4060049"/>
              <a:gd name="connsiteY7" fmla="*/ 4750880 h 6858000"/>
              <a:gd name="connsiteX8" fmla="*/ 0 w 4060049"/>
              <a:gd name="connsiteY8" fmla="*/ 474919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60049" h="6858000">
                <a:moveTo>
                  <a:pt x="0" y="0"/>
                </a:moveTo>
                <a:lnTo>
                  <a:pt x="958936" y="0"/>
                </a:lnTo>
                <a:lnTo>
                  <a:pt x="1009242" y="32361"/>
                </a:lnTo>
                <a:cubicBezTo>
                  <a:pt x="2175939" y="812773"/>
                  <a:pt x="3199319" y="1864176"/>
                  <a:pt x="4060049" y="2178950"/>
                </a:cubicBezTo>
                <a:cubicBezTo>
                  <a:pt x="3979882" y="4026519"/>
                  <a:pt x="3404141" y="5790273"/>
                  <a:pt x="2165204" y="6858000"/>
                </a:cubicBezTo>
                <a:cubicBezTo>
                  <a:pt x="2165204" y="6858000"/>
                  <a:pt x="2165204" y="6858000"/>
                  <a:pt x="1618614" y="6858000"/>
                </a:cubicBezTo>
                <a:cubicBezTo>
                  <a:pt x="1720644" y="6599268"/>
                  <a:pt x="1735220" y="6267653"/>
                  <a:pt x="1582175" y="5837647"/>
                </a:cubicBezTo>
                <a:cubicBezTo>
                  <a:pt x="1356706" y="5207556"/>
                  <a:pt x="750173" y="4940033"/>
                  <a:pt x="6944" y="4750880"/>
                </a:cubicBezTo>
                <a:lnTo>
                  <a:pt x="0" y="4749199"/>
                </a:ln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13"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8458200" y="2227753"/>
            <a:ext cx="3507616" cy="1902287"/>
          </a:xfrm>
          <a:prstGeom prst="rect">
            <a:avLst/>
          </a:prstGeom>
        </p:spPr>
        <p:txBody>
          <a:bodyPr>
            <a:noAutofit/>
          </a:bodyPr>
          <a:lstStyle>
            <a:lvl1pPr marL="0" indent="0" algn="r">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389763481"/>
      </p:ext>
    </p:extLst>
  </p:cSld>
  <p:clrMapOvr>
    <a:masterClrMapping/>
  </p:clrMapOvr>
  <p:extLst>
    <p:ext uri="{DCECCB84-F9BA-43D5-87BE-67443E8EF086}">
      <p15:sldGuideLst xmlns:p15="http://schemas.microsoft.com/office/powerpoint/2012/main">
        <p15:guide id="1" pos="279">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_Gre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18434"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2400"/>
            </a:lvl1pPr>
          </a:lstStyle>
          <a:p>
            <a:r>
              <a:rPr lang="en-US" noProof="0" dirty="0"/>
              <a:t>Click to edit Master title style</a:t>
            </a:r>
            <a:endParaRPr lang="en-US" dirty="0"/>
          </a:p>
        </p:txBody>
      </p:sp>
    </p:spTree>
    <p:extLst>
      <p:ext uri="{BB962C8B-B14F-4D97-AF65-F5344CB8AC3E}">
        <p14:creationId xmlns:p14="http://schemas.microsoft.com/office/powerpoint/2010/main" val="338827423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0314973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932118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3" name="Rectangle 22"/>
          <p:cNvSpPr/>
          <p:nvPr/>
        </p:nvSpPr>
        <p:spPr>
          <a:xfrm>
            <a:off x="1" y="0"/>
            <a:ext cx="175678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err="1">
              <a:solidFill>
                <a:schemeClr val="tx2">
                  <a:lumMod val="50000"/>
                </a:schemeClr>
              </a:solidFill>
            </a:endParaRPr>
          </a:p>
        </p:txBody>
      </p:sp>
      <p:graphicFrame>
        <p:nvGraphicFramePr>
          <p:cNvPr id="2" name="Object 1"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19458"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p:cNvSpPr/>
          <p:nvPr/>
        </p:nvSpPr>
        <p:spPr>
          <a:xfrm>
            <a:off x="6657879" y="2524335"/>
            <a:ext cx="5213580" cy="19532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r>
              <a:rPr lang="en-US" sz="120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7 global revenues of EUR 12.8 billion (about $14.4 billion USD at 2017 average rate).</a:t>
            </a:r>
          </a:p>
        </p:txBody>
      </p:sp>
      <p:sp>
        <p:nvSpPr>
          <p:cNvPr id="9" name="Rectangle 8"/>
          <p:cNvSpPr/>
          <p:nvPr/>
        </p:nvSpPr>
        <p:spPr>
          <a:xfrm>
            <a:off x="6657879" y="2018364"/>
            <a:ext cx="2905099" cy="2349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600" b="1">
                <a:solidFill>
                  <a:schemeClr val="tx2"/>
                </a:solidFill>
                <a:latin typeface="Verdana" panose="020B0604030504040204" pitchFamily="34" charset="0"/>
                <a:ea typeface="Verdana" panose="020B0604030504040204" pitchFamily="34" charset="0"/>
                <a:cs typeface="Verdana" panose="020B0604030504040204" pitchFamily="34" charset="0"/>
              </a:rPr>
              <a:t>About Capgemini</a:t>
            </a:r>
          </a:p>
        </p:txBody>
      </p:sp>
      <p:sp>
        <p:nvSpPr>
          <p:cNvPr id="10" name="Rectangle 9"/>
          <p:cNvSpPr/>
          <p:nvPr/>
        </p:nvSpPr>
        <p:spPr>
          <a:xfrm>
            <a:off x="6657880" y="4973899"/>
            <a:ext cx="3468945" cy="5433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1200">
                <a:solidFill>
                  <a:schemeClr val="tx1"/>
                </a:solidFill>
                <a:latin typeface="Verdana" panose="020B0604030504040204" pitchFamily="34" charset="0"/>
                <a:ea typeface="Verdana" panose="020B0604030504040204" pitchFamily="34" charset="0"/>
                <a:cs typeface="Verdana" panose="020B0604030504040204" pitchFamily="34" charset="0"/>
              </a:rPr>
              <a:t>Learn more about us at</a:t>
            </a:r>
          </a:p>
          <a:p>
            <a:pPr algn="just">
              <a:lnSpc>
                <a:spcPts val="1200"/>
              </a:lnSpc>
            </a:pPr>
            <a:r>
              <a:rPr lang="en-US" sz="1867">
                <a:solidFill>
                  <a:schemeClr val="accent2"/>
                </a:solidFill>
                <a:latin typeface="Verdana" panose="020B0604030504040204" pitchFamily="34" charset="0"/>
                <a:ea typeface="Verdana" panose="020B0604030504040204" pitchFamily="34" charset="0"/>
                <a:cs typeface="Verdana" panose="020B0604030504040204" pitchFamily="34" charset="0"/>
              </a:rPr>
              <a:t>www.capgemini.com</a:t>
            </a:r>
          </a:p>
        </p:txBody>
      </p:sp>
      <p:sp>
        <p:nvSpPr>
          <p:cNvPr id="17" name="Rectangle 16"/>
          <p:cNvSpPr/>
          <p:nvPr/>
        </p:nvSpPr>
        <p:spPr>
          <a:xfrm>
            <a:off x="6657879" y="6042841"/>
            <a:ext cx="5213580" cy="574260"/>
          </a:xfrm>
          <a:prstGeom prst="rect">
            <a:avLst/>
          </a:prstGeom>
        </p:spPr>
        <p:txBody>
          <a:bodyPr wrap="square" lIns="0" tIns="0" rIns="0" bIns="0" anchor="b" anchorCtr="0">
            <a:spAutoFit/>
          </a:bodyPr>
          <a:lstStyle/>
          <a:p>
            <a:pPr>
              <a:spcAft>
                <a:spcPts val="600"/>
              </a:spcAft>
            </a:pPr>
            <a:r>
              <a:rPr lang="en-US" sz="900">
                <a:latin typeface="Verdana" panose="020B0604030504040204" pitchFamily="34" charset="0"/>
                <a:ea typeface="Verdana" panose="020B0604030504040204" pitchFamily="34" charset="0"/>
                <a:cs typeface="Verdana" panose="020B0604030504040204" pitchFamily="34" charset="0"/>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19" name="Rectangle 18">
            <a:hlinkClick r:id="rId6"/>
          </p:cNvPr>
          <p:cNvSpPr/>
          <p:nvPr/>
        </p:nvSpPr>
        <p:spPr>
          <a:xfrm>
            <a:off x="11956319" y="5079045"/>
            <a:ext cx="922387" cy="166328"/>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GB" sz="2400"/>
          </a:p>
        </p:txBody>
      </p:sp>
      <p:sp>
        <p:nvSpPr>
          <p:cNvPr id="4" name="Freeform 5"/>
          <p:cNvSpPr>
            <a:spLocks/>
          </p:cNvSpPr>
          <p:nvPr/>
        </p:nvSpPr>
        <p:spPr bwMode="auto">
          <a:xfrm>
            <a:off x="1468502" y="-14553"/>
            <a:ext cx="4422889" cy="6872553"/>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 name="connsiteX0" fmla="*/ 2507 w 10000"/>
              <a:gd name="connsiteY0" fmla="*/ 0 h 10000"/>
              <a:gd name="connsiteX1" fmla="*/ 0 w 10000"/>
              <a:gd name="connsiteY1" fmla="*/ 0 h 10000"/>
              <a:gd name="connsiteX2" fmla="*/ 0 w 10000"/>
              <a:gd name="connsiteY2" fmla="*/ 10000 h 10000"/>
              <a:gd name="connsiteX3" fmla="*/ 10000 w 10000"/>
              <a:gd name="connsiteY3" fmla="*/ 10000 h 10000"/>
              <a:gd name="connsiteX4" fmla="*/ 525 w 10000"/>
              <a:gd name="connsiteY4" fmla="*/ 9989 h 10000"/>
              <a:gd name="connsiteX5" fmla="*/ 6152 w 10000"/>
              <a:gd name="connsiteY5" fmla="*/ 4435 h 10000"/>
              <a:gd name="connsiteX6" fmla="*/ 2507 w 10000"/>
              <a:gd name="connsiteY6" fmla="*/ 0 h 10000"/>
              <a:gd name="connsiteX0" fmla="*/ 2507 w 6673"/>
              <a:gd name="connsiteY0" fmla="*/ 0 h 10000"/>
              <a:gd name="connsiteX1" fmla="*/ 0 w 6673"/>
              <a:gd name="connsiteY1" fmla="*/ 0 h 10000"/>
              <a:gd name="connsiteX2" fmla="*/ 0 w 6673"/>
              <a:gd name="connsiteY2" fmla="*/ 10000 h 10000"/>
              <a:gd name="connsiteX3" fmla="*/ 525 w 6673"/>
              <a:gd name="connsiteY3" fmla="*/ 9989 h 10000"/>
              <a:gd name="connsiteX4" fmla="*/ 6152 w 6673"/>
              <a:gd name="connsiteY4" fmla="*/ 4435 h 10000"/>
              <a:gd name="connsiteX5" fmla="*/ 2507 w 6673"/>
              <a:gd name="connsiteY5" fmla="*/ 0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18 w 10000"/>
              <a:gd name="connsiteY5" fmla="*/ 2310 h 10000"/>
              <a:gd name="connsiteX0" fmla="*/ 0 w 10000"/>
              <a:gd name="connsiteY0" fmla="*/ 0 h 10000"/>
              <a:gd name="connsiteX1" fmla="*/ 0 w 10000"/>
              <a:gd name="connsiteY1" fmla="*/ 10000 h 10000"/>
              <a:gd name="connsiteX2" fmla="*/ 787 w 10000"/>
              <a:gd name="connsiteY2" fmla="*/ 9989 h 10000"/>
              <a:gd name="connsiteX3" fmla="*/ 9219 w 10000"/>
              <a:gd name="connsiteY3" fmla="*/ 4435 h 10000"/>
              <a:gd name="connsiteX4" fmla="*/ 4418 w 10000"/>
              <a:gd name="connsiteY4" fmla="*/ 2310 h 10000"/>
              <a:gd name="connsiteX0" fmla="*/ 1064 w 10002"/>
              <a:gd name="connsiteY0" fmla="*/ 0 h 8342"/>
              <a:gd name="connsiteX1" fmla="*/ 2 w 10002"/>
              <a:gd name="connsiteY1" fmla="*/ 7770 h 8342"/>
              <a:gd name="connsiteX2" fmla="*/ 789 w 10002"/>
              <a:gd name="connsiteY2" fmla="*/ 7759 h 8342"/>
              <a:gd name="connsiteX3" fmla="*/ 9221 w 10002"/>
              <a:gd name="connsiteY3" fmla="*/ 2205 h 8342"/>
              <a:gd name="connsiteX4" fmla="*/ 4420 w 10002"/>
              <a:gd name="connsiteY4" fmla="*/ 80 h 8342"/>
              <a:gd name="connsiteX0" fmla="*/ 1919 w 10028"/>
              <a:gd name="connsiteY0" fmla="*/ 386 h 9869"/>
              <a:gd name="connsiteX1" fmla="*/ 30 w 10028"/>
              <a:gd name="connsiteY1" fmla="*/ 9218 h 9869"/>
              <a:gd name="connsiteX2" fmla="*/ 817 w 10028"/>
              <a:gd name="connsiteY2" fmla="*/ 9205 h 9869"/>
              <a:gd name="connsiteX3" fmla="*/ 9247 w 10028"/>
              <a:gd name="connsiteY3" fmla="*/ 2547 h 9869"/>
              <a:gd name="connsiteX4" fmla="*/ 4447 w 10028"/>
              <a:gd name="connsiteY4" fmla="*/ 0 h 9869"/>
              <a:gd name="connsiteX0" fmla="*/ 1733 w 9993"/>
              <a:gd name="connsiteY0" fmla="*/ 52 h 10024"/>
              <a:gd name="connsiteX1" fmla="*/ 23 w 9993"/>
              <a:gd name="connsiteY1" fmla="*/ 9340 h 10024"/>
              <a:gd name="connsiteX2" fmla="*/ 808 w 9993"/>
              <a:gd name="connsiteY2" fmla="*/ 9327 h 10024"/>
              <a:gd name="connsiteX3" fmla="*/ 9214 w 9993"/>
              <a:gd name="connsiteY3" fmla="*/ 2581 h 10024"/>
              <a:gd name="connsiteX4" fmla="*/ 4428 w 9993"/>
              <a:gd name="connsiteY4" fmla="*/ 0 h 10024"/>
              <a:gd name="connsiteX0" fmla="*/ 1707 w 9999"/>
              <a:gd name="connsiteY0" fmla="*/ 0 h 10005"/>
              <a:gd name="connsiteX1" fmla="*/ 22 w 9999"/>
              <a:gd name="connsiteY1" fmla="*/ 9318 h 10005"/>
              <a:gd name="connsiteX2" fmla="*/ 808 w 9999"/>
              <a:gd name="connsiteY2" fmla="*/ 9305 h 10005"/>
              <a:gd name="connsiteX3" fmla="*/ 9219 w 9999"/>
              <a:gd name="connsiteY3" fmla="*/ 2575 h 10005"/>
              <a:gd name="connsiteX4" fmla="*/ 4430 w 9999"/>
              <a:gd name="connsiteY4" fmla="*/ 0 h 10005"/>
              <a:gd name="connsiteX0" fmla="*/ 1733 w 9999"/>
              <a:gd name="connsiteY0" fmla="*/ 6 h 9999"/>
              <a:gd name="connsiteX1" fmla="*/ 22 w 9999"/>
              <a:gd name="connsiteY1" fmla="*/ 9313 h 9999"/>
              <a:gd name="connsiteX2" fmla="*/ 808 w 9999"/>
              <a:gd name="connsiteY2" fmla="*/ 9300 h 9999"/>
              <a:gd name="connsiteX3" fmla="*/ 9220 w 9999"/>
              <a:gd name="connsiteY3" fmla="*/ 2574 h 9999"/>
              <a:gd name="connsiteX4" fmla="*/ 4430 w 9999"/>
              <a:gd name="connsiteY4" fmla="*/ 0 h 9999"/>
              <a:gd name="connsiteX0" fmla="*/ 1936 w 10008"/>
              <a:gd name="connsiteY0" fmla="*/ 189 h 9986"/>
              <a:gd name="connsiteX1" fmla="*/ 30 w 10008"/>
              <a:gd name="connsiteY1" fmla="*/ 9314 h 9986"/>
              <a:gd name="connsiteX2" fmla="*/ 816 w 10008"/>
              <a:gd name="connsiteY2" fmla="*/ 9301 h 9986"/>
              <a:gd name="connsiteX3" fmla="*/ 9229 w 10008"/>
              <a:gd name="connsiteY3" fmla="*/ 2574 h 9986"/>
              <a:gd name="connsiteX4" fmla="*/ 4438 w 10008"/>
              <a:gd name="connsiteY4" fmla="*/ 0 h 9986"/>
              <a:gd name="connsiteX0" fmla="*/ 1737 w 9993"/>
              <a:gd name="connsiteY0" fmla="*/ 16 h 10013"/>
              <a:gd name="connsiteX1" fmla="*/ 23 w 9993"/>
              <a:gd name="connsiteY1" fmla="*/ 9327 h 10013"/>
              <a:gd name="connsiteX2" fmla="*/ 808 w 9993"/>
              <a:gd name="connsiteY2" fmla="*/ 9314 h 10013"/>
              <a:gd name="connsiteX3" fmla="*/ 9215 w 9993"/>
              <a:gd name="connsiteY3" fmla="*/ 2578 h 10013"/>
              <a:gd name="connsiteX4" fmla="*/ 4427 w 9993"/>
              <a:gd name="connsiteY4" fmla="*/ 0 h 10013"/>
              <a:gd name="connsiteX0" fmla="*/ 1696 w 9341"/>
              <a:gd name="connsiteY0" fmla="*/ 16 h 9780"/>
              <a:gd name="connsiteX1" fmla="*/ 493 w 9341"/>
              <a:gd name="connsiteY1" fmla="*/ 8210 h 9780"/>
              <a:gd name="connsiteX2" fmla="*/ 767 w 9341"/>
              <a:gd name="connsiteY2" fmla="*/ 9302 h 9780"/>
              <a:gd name="connsiteX3" fmla="*/ 9179 w 9341"/>
              <a:gd name="connsiteY3" fmla="*/ 2575 h 9780"/>
              <a:gd name="connsiteX4" fmla="*/ 4388 w 9341"/>
              <a:gd name="connsiteY4" fmla="*/ 0 h 9780"/>
              <a:gd name="connsiteX0" fmla="*/ 1719 w 9903"/>
              <a:gd name="connsiteY0" fmla="*/ 16 h 9917"/>
              <a:gd name="connsiteX1" fmla="*/ 676 w 9903"/>
              <a:gd name="connsiteY1" fmla="*/ 8136 h 9917"/>
              <a:gd name="connsiteX2" fmla="*/ 724 w 9903"/>
              <a:gd name="connsiteY2" fmla="*/ 9511 h 9917"/>
              <a:gd name="connsiteX3" fmla="*/ 9730 w 9903"/>
              <a:gd name="connsiteY3" fmla="*/ 2633 h 9917"/>
              <a:gd name="connsiteX4" fmla="*/ 4601 w 9903"/>
              <a:gd name="connsiteY4" fmla="*/ 0 h 9917"/>
              <a:gd name="connsiteX0" fmla="*/ 1651 w 9914"/>
              <a:gd name="connsiteY0" fmla="*/ 16 h 9811"/>
              <a:gd name="connsiteX1" fmla="*/ 843 w 9914"/>
              <a:gd name="connsiteY1" fmla="*/ 7346 h 9811"/>
              <a:gd name="connsiteX2" fmla="*/ 646 w 9914"/>
              <a:gd name="connsiteY2" fmla="*/ 9591 h 9811"/>
              <a:gd name="connsiteX3" fmla="*/ 9740 w 9914"/>
              <a:gd name="connsiteY3" fmla="*/ 2655 h 9811"/>
              <a:gd name="connsiteX4" fmla="*/ 4561 w 9914"/>
              <a:gd name="connsiteY4" fmla="*/ 0 h 9811"/>
              <a:gd name="connsiteX0" fmla="*/ 1577 w 9910"/>
              <a:gd name="connsiteY0" fmla="*/ 16 h 10001"/>
              <a:gd name="connsiteX1" fmla="*/ 1061 w 9910"/>
              <a:gd name="connsiteY1" fmla="*/ 7495 h 10001"/>
              <a:gd name="connsiteX2" fmla="*/ 564 w 9910"/>
              <a:gd name="connsiteY2" fmla="*/ 9776 h 10001"/>
              <a:gd name="connsiteX3" fmla="*/ 9736 w 9910"/>
              <a:gd name="connsiteY3" fmla="*/ 2706 h 10001"/>
              <a:gd name="connsiteX4" fmla="*/ 4513 w 9910"/>
              <a:gd name="connsiteY4" fmla="*/ 0 h 10001"/>
              <a:gd name="connsiteX0" fmla="*/ 1499 w 9907"/>
              <a:gd name="connsiteY0" fmla="*/ 16 h 9999"/>
              <a:gd name="connsiteX1" fmla="*/ 1351 w 9907"/>
              <a:gd name="connsiteY1" fmla="*/ 7490 h 9999"/>
              <a:gd name="connsiteX2" fmla="*/ 477 w 9907"/>
              <a:gd name="connsiteY2" fmla="*/ 9775 h 9999"/>
              <a:gd name="connsiteX3" fmla="*/ 9732 w 9907"/>
              <a:gd name="connsiteY3" fmla="*/ 2706 h 9999"/>
              <a:gd name="connsiteX4" fmla="*/ 4462 w 9907"/>
              <a:gd name="connsiteY4" fmla="*/ 0 h 9999"/>
              <a:gd name="connsiteX0" fmla="*/ 1457 w 9943"/>
              <a:gd name="connsiteY0" fmla="*/ 16 h 10001"/>
              <a:gd name="connsiteX1" fmla="*/ 1578 w 9943"/>
              <a:gd name="connsiteY1" fmla="*/ 7497 h 10001"/>
              <a:gd name="connsiteX2" fmla="*/ 425 w 9943"/>
              <a:gd name="connsiteY2" fmla="*/ 9776 h 10001"/>
              <a:gd name="connsiteX3" fmla="*/ 9767 w 9943"/>
              <a:gd name="connsiteY3" fmla="*/ 2706 h 10001"/>
              <a:gd name="connsiteX4" fmla="*/ 4448 w 9943"/>
              <a:gd name="connsiteY4" fmla="*/ 0 h 10001"/>
              <a:gd name="connsiteX0" fmla="*/ 1492 w 10028"/>
              <a:gd name="connsiteY0" fmla="*/ 16 h 10024"/>
              <a:gd name="connsiteX1" fmla="*/ 1481 w 10028"/>
              <a:gd name="connsiteY1" fmla="*/ 7635 h 10024"/>
              <a:gd name="connsiteX2" fmla="*/ 454 w 10028"/>
              <a:gd name="connsiteY2" fmla="*/ 9775 h 10024"/>
              <a:gd name="connsiteX3" fmla="*/ 9850 w 10028"/>
              <a:gd name="connsiteY3" fmla="*/ 2706 h 10024"/>
              <a:gd name="connsiteX4" fmla="*/ 4500 w 10028"/>
              <a:gd name="connsiteY4" fmla="*/ 0 h 10024"/>
              <a:gd name="connsiteX0" fmla="*/ 1422 w 9958"/>
              <a:gd name="connsiteY0" fmla="*/ 16 h 9919"/>
              <a:gd name="connsiteX1" fmla="*/ 1411 w 9958"/>
              <a:gd name="connsiteY1" fmla="*/ 7635 h 9919"/>
              <a:gd name="connsiteX2" fmla="*/ 384 w 9958"/>
              <a:gd name="connsiteY2" fmla="*/ 9775 h 9919"/>
              <a:gd name="connsiteX3" fmla="*/ 9780 w 9958"/>
              <a:gd name="connsiteY3" fmla="*/ 2706 h 9919"/>
              <a:gd name="connsiteX4" fmla="*/ 4430 w 9958"/>
              <a:gd name="connsiteY4" fmla="*/ 0 h 9919"/>
              <a:gd name="connsiteX0" fmla="*/ 1428 w 9999"/>
              <a:gd name="connsiteY0" fmla="*/ 16 h 10000"/>
              <a:gd name="connsiteX1" fmla="*/ 1417 w 9999"/>
              <a:gd name="connsiteY1" fmla="*/ 7697 h 10000"/>
              <a:gd name="connsiteX2" fmla="*/ 386 w 9999"/>
              <a:gd name="connsiteY2" fmla="*/ 9855 h 10000"/>
              <a:gd name="connsiteX3" fmla="*/ 9821 w 9999"/>
              <a:gd name="connsiteY3" fmla="*/ 2728 h 10000"/>
              <a:gd name="connsiteX4" fmla="*/ 4449 w 9999"/>
              <a:gd name="connsiteY4" fmla="*/ 0 h 10000"/>
              <a:gd name="connsiteX0" fmla="*/ 1422 w 9994"/>
              <a:gd name="connsiteY0" fmla="*/ 16 h 9999"/>
              <a:gd name="connsiteX1" fmla="*/ 1411 w 9994"/>
              <a:gd name="connsiteY1" fmla="*/ 7697 h 9999"/>
              <a:gd name="connsiteX2" fmla="*/ 380 w 9994"/>
              <a:gd name="connsiteY2" fmla="*/ 9855 h 9999"/>
              <a:gd name="connsiteX3" fmla="*/ 9816 w 9994"/>
              <a:gd name="connsiteY3" fmla="*/ 2728 h 9999"/>
              <a:gd name="connsiteX4" fmla="*/ 4443 w 9994"/>
              <a:gd name="connsiteY4" fmla="*/ 0 h 9999"/>
              <a:gd name="connsiteX0" fmla="*/ 1423 w 9861"/>
              <a:gd name="connsiteY0" fmla="*/ 16 h 10000"/>
              <a:gd name="connsiteX1" fmla="*/ 1412 w 9861"/>
              <a:gd name="connsiteY1" fmla="*/ 7698 h 10000"/>
              <a:gd name="connsiteX2" fmla="*/ 380 w 9861"/>
              <a:gd name="connsiteY2" fmla="*/ 9856 h 10000"/>
              <a:gd name="connsiteX3" fmla="*/ 3862 w 9861"/>
              <a:gd name="connsiteY3" fmla="*/ 7697 h 10000"/>
              <a:gd name="connsiteX4" fmla="*/ 9822 w 9861"/>
              <a:gd name="connsiteY4" fmla="*/ 2728 h 10000"/>
              <a:gd name="connsiteX5" fmla="*/ 4446 w 9861"/>
              <a:gd name="connsiteY5" fmla="*/ 0 h 10000"/>
              <a:gd name="connsiteX0" fmla="*/ 1115 w 9671"/>
              <a:gd name="connsiteY0" fmla="*/ 16 h 9856"/>
              <a:gd name="connsiteX1" fmla="*/ 1104 w 9671"/>
              <a:gd name="connsiteY1" fmla="*/ 7698 h 9856"/>
              <a:gd name="connsiteX2" fmla="*/ 57 w 9671"/>
              <a:gd name="connsiteY2" fmla="*/ 9856 h 9856"/>
              <a:gd name="connsiteX3" fmla="*/ 3585 w 9671"/>
              <a:gd name="connsiteY3" fmla="*/ 7710 h 9856"/>
              <a:gd name="connsiteX4" fmla="*/ 9632 w 9671"/>
              <a:gd name="connsiteY4" fmla="*/ 2728 h 9856"/>
              <a:gd name="connsiteX5" fmla="*/ 4181 w 9671"/>
              <a:gd name="connsiteY5" fmla="*/ 0 h 9856"/>
              <a:gd name="connsiteX0" fmla="*/ 1153 w 10001"/>
              <a:gd name="connsiteY0" fmla="*/ 16 h 10000"/>
              <a:gd name="connsiteX1" fmla="*/ 1142 w 10001"/>
              <a:gd name="connsiteY1" fmla="*/ 7810 h 10000"/>
              <a:gd name="connsiteX2" fmla="*/ 59 w 10001"/>
              <a:gd name="connsiteY2" fmla="*/ 10000 h 10000"/>
              <a:gd name="connsiteX3" fmla="*/ 3707 w 10001"/>
              <a:gd name="connsiteY3" fmla="*/ 7823 h 10000"/>
              <a:gd name="connsiteX4" fmla="*/ 9960 w 10001"/>
              <a:gd name="connsiteY4" fmla="*/ 2768 h 10000"/>
              <a:gd name="connsiteX5" fmla="*/ 4323 w 10001"/>
              <a:gd name="connsiteY5" fmla="*/ 0 h 10000"/>
              <a:gd name="connsiteX0" fmla="*/ 187 w 9035"/>
              <a:gd name="connsiteY0" fmla="*/ 16 h 8627"/>
              <a:gd name="connsiteX1" fmla="*/ 176 w 9035"/>
              <a:gd name="connsiteY1" fmla="*/ 7810 h 8627"/>
              <a:gd name="connsiteX2" fmla="*/ 2741 w 9035"/>
              <a:gd name="connsiteY2" fmla="*/ 7823 h 8627"/>
              <a:gd name="connsiteX3" fmla="*/ 8994 w 9035"/>
              <a:gd name="connsiteY3" fmla="*/ 2768 h 8627"/>
              <a:gd name="connsiteX4" fmla="*/ 3357 w 9035"/>
              <a:gd name="connsiteY4" fmla="*/ 0 h 8627"/>
              <a:gd name="connsiteX0" fmla="*/ 207 w 10000"/>
              <a:gd name="connsiteY0" fmla="*/ 19 h 9728"/>
              <a:gd name="connsiteX1" fmla="*/ 195 w 10000"/>
              <a:gd name="connsiteY1" fmla="*/ 9053 h 9728"/>
              <a:gd name="connsiteX2" fmla="*/ 3034 w 10000"/>
              <a:gd name="connsiteY2" fmla="*/ 9068 h 9728"/>
              <a:gd name="connsiteX3" fmla="*/ 9955 w 10000"/>
              <a:gd name="connsiteY3" fmla="*/ 3209 h 9728"/>
              <a:gd name="connsiteX4" fmla="*/ 3716 w 10000"/>
              <a:gd name="connsiteY4" fmla="*/ 0 h 9728"/>
              <a:gd name="connsiteX0" fmla="*/ 207 w 10000"/>
              <a:gd name="connsiteY0" fmla="*/ 20 h 9323"/>
              <a:gd name="connsiteX1" fmla="*/ 195 w 10000"/>
              <a:gd name="connsiteY1" fmla="*/ 9306 h 9323"/>
              <a:gd name="connsiteX2" fmla="*/ 3034 w 10000"/>
              <a:gd name="connsiteY2" fmla="*/ 9322 h 9323"/>
              <a:gd name="connsiteX3" fmla="*/ 9955 w 10000"/>
              <a:gd name="connsiteY3" fmla="*/ 3299 h 9323"/>
              <a:gd name="connsiteX4" fmla="*/ 3716 w 10000"/>
              <a:gd name="connsiteY4" fmla="*/ 0 h 9323"/>
              <a:gd name="connsiteX0" fmla="*/ 207 w 10000"/>
              <a:gd name="connsiteY0" fmla="*/ 21 h 10000"/>
              <a:gd name="connsiteX1" fmla="*/ 195 w 10000"/>
              <a:gd name="connsiteY1" fmla="*/ 9982 h 10000"/>
              <a:gd name="connsiteX2" fmla="*/ 3034 w 10000"/>
              <a:gd name="connsiteY2" fmla="*/ 9999 h 10000"/>
              <a:gd name="connsiteX3" fmla="*/ 9955 w 10000"/>
              <a:gd name="connsiteY3" fmla="*/ 3539 h 10000"/>
              <a:gd name="connsiteX4" fmla="*/ 3716 w 10000"/>
              <a:gd name="connsiteY4" fmla="*/ 0 h 10000"/>
              <a:gd name="connsiteX0" fmla="*/ 207 w 10000"/>
              <a:gd name="connsiteY0" fmla="*/ 21 h 10000"/>
              <a:gd name="connsiteX1" fmla="*/ 195 w 10000"/>
              <a:gd name="connsiteY1" fmla="*/ 9982 h 10000"/>
              <a:gd name="connsiteX2" fmla="*/ 3034 w 10000"/>
              <a:gd name="connsiteY2" fmla="*/ 9999 h 10000"/>
              <a:gd name="connsiteX3" fmla="*/ 9955 w 10000"/>
              <a:gd name="connsiteY3" fmla="*/ 3539 h 10000"/>
              <a:gd name="connsiteX4" fmla="*/ 3716 w 10000"/>
              <a:gd name="connsiteY4" fmla="*/ 0 h 10000"/>
              <a:gd name="connsiteX0" fmla="*/ 207 w 10000"/>
              <a:gd name="connsiteY0" fmla="*/ 21 h 9999"/>
              <a:gd name="connsiteX1" fmla="*/ 195 w 10000"/>
              <a:gd name="connsiteY1" fmla="*/ 9982 h 9999"/>
              <a:gd name="connsiteX2" fmla="*/ 3034 w 10000"/>
              <a:gd name="connsiteY2" fmla="*/ 9999 h 9999"/>
              <a:gd name="connsiteX3" fmla="*/ 9955 w 10000"/>
              <a:gd name="connsiteY3" fmla="*/ 3539 h 9999"/>
              <a:gd name="connsiteX4" fmla="*/ 3716 w 10000"/>
              <a:gd name="connsiteY4" fmla="*/ 0 h 9999"/>
              <a:gd name="connsiteX0" fmla="*/ 207 w 10000"/>
              <a:gd name="connsiteY0" fmla="*/ 21 h 9988"/>
              <a:gd name="connsiteX1" fmla="*/ 195 w 10000"/>
              <a:gd name="connsiteY1" fmla="*/ 9983 h 9988"/>
              <a:gd name="connsiteX2" fmla="*/ 7054 w 10000"/>
              <a:gd name="connsiteY2" fmla="*/ 9988 h 9988"/>
              <a:gd name="connsiteX3" fmla="*/ 9955 w 10000"/>
              <a:gd name="connsiteY3" fmla="*/ 3539 h 9988"/>
              <a:gd name="connsiteX4" fmla="*/ 3716 w 10000"/>
              <a:gd name="connsiteY4" fmla="*/ 0 h 9988"/>
              <a:gd name="connsiteX0" fmla="*/ 207 w 10624"/>
              <a:gd name="connsiteY0" fmla="*/ 21 h 10000"/>
              <a:gd name="connsiteX1" fmla="*/ 195 w 10624"/>
              <a:gd name="connsiteY1" fmla="*/ 9995 h 10000"/>
              <a:gd name="connsiteX2" fmla="*/ 7054 w 10624"/>
              <a:gd name="connsiteY2" fmla="*/ 10000 h 10000"/>
              <a:gd name="connsiteX3" fmla="*/ 9955 w 10624"/>
              <a:gd name="connsiteY3" fmla="*/ 3543 h 10000"/>
              <a:gd name="connsiteX4" fmla="*/ 3716 w 10624"/>
              <a:gd name="connsiteY4" fmla="*/ 0 h 10000"/>
              <a:gd name="connsiteX0" fmla="*/ 207 w 10624"/>
              <a:gd name="connsiteY0" fmla="*/ 21 h 10000"/>
              <a:gd name="connsiteX1" fmla="*/ 195 w 10624"/>
              <a:gd name="connsiteY1" fmla="*/ 9995 h 10000"/>
              <a:gd name="connsiteX2" fmla="*/ 7054 w 10624"/>
              <a:gd name="connsiteY2" fmla="*/ 10000 h 10000"/>
              <a:gd name="connsiteX3" fmla="*/ 9955 w 10624"/>
              <a:gd name="connsiteY3" fmla="*/ 3543 h 10000"/>
              <a:gd name="connsiteX4" fmla="*/ 3716 w 10624"/>
              <a:gd name="connsiteY4" fmla="*/ 0 h 10000"/>
              <a:gd name="connsiteX0" fmla="*/ 207 w 11005"/>
              <a:gd name="connsiteY0" fmla="*/ 21 h 10000"/>
              <a:gd name="connsiteX1" fmla="*/ 195 w 11005"/>
              <a:gd name="connsiteY1" fmla="*/ 9995 h 10000"/>
              <a:gd name="connsiteX2" fmla="*/ 7054 w 11005"/>
              <a:gd name="connsiteY2" fmla="*/ 10000 h 10000"/>
              <a:gd name="connsiteX3" fmla="*/ 9955 w 11005"/>
              <a:gd name="connsiteY3" fmla="*/ 3543 h 10000"/>
              <a:gd name="connsiteX4" fmla="*/ 3716 w 11005"/>
              <a:gd name="connsiteY4" fmla="*/ 0 h 10000"/>
              <a:gd name="connsiteX0" fmla="*/ 207 w 10944"/>
              <a:gd name="connsiteY0" fmla="*/ 21 h 10000"/>
              <a:gd name="connsiteX1" fmla="*/ 195 w 10944"/>
              <a:gd name="connsiteY1" fmla="*/ 9995 h 10000"/>
              <a:gd name="connsiteX2" fmla="*/ 7054 w 10944"/>
              <a:gd name="connsiteY2" fmla="*/ 10000 h 10000"/>
              <a:gd name="connsiteX3" fmla="*/ 9955 w 10944"/>
              <a:gd name="connsiteY3" fmla="*/ 3543 h 10000"/>
              <a:gd name="connsiteX4" fmla="*/ 3716 w 10944"/>
              <a:gd name="connsiteY4" fmla="*/ 0 h 10000"/>
              <a:gd name="connsiteX0" fmla="*/ 207 w 10909"/>
              <a:gd name="connsiteY0" fmla="*/ 21 h 10000"/>
              <a:gd name="connsiteX1" fmla="*/ 195 w 10909"/>
              <a:gd name="connsiteY1" fmla="*/ 9995 h 10000"/>
              <a:gd name="connsiteX2" fmla="*/ 7054 w 10909"/>
              <a:gd name="connsiteY2" fmla="*/ 10000 h 10000"/>
              <a:gd name="connsiteX3" fmla="*/ 9955 w 10909"/>
              <a:gd name="connsiteY3" fmla="*/ 3543 h 10000"/>
              <a:gd name="connsiteX4" fmla="*/ 3716 w 10909"/>
              <a:gd name="connsiteY4" fmla="*/ 0 h 10000"/>
              <a:gd name="connsiteX0" fmla="*/ 207 w 10909"/>
              <a:gd name="connsiteY0" fmla="*/ 21 h 10000"/>
              <a:gd name="connsiteX1" fmla="*/ 195 w 10909"/>
              <a:gd name="connsiteY1" fmla="*/ 9995 h 10000"/>
              <a:gd name="connsiteX2" fmla="*/ 7054 w 10909"/>
              <a:gd name="connsiteY2" fmla="*/ 10000 h 10000"/>
              <a:gd name="connsiteX3" fmla="*/ 9955 w 10909"/>
              <a:gd name="connsiteY3" fmla="*/ 3543 h 10000"/>
              <a:gd name="connsiteX4" fmla="*/ 3716 w 10909"/>
              <a:gd name="connsiteY4" fmla="*/ 0 h 10000"/>
              <a:gd name="connsiteX0" fmla="*/ 207 w 10955"/>
              <a:gd name="connsiteY0" fmla="*/ 21 h 10000"/>
              <a:gd name="connsiteX1" fmla="*/ 195 w 10955"/>
              <a:gd name="connsiteY1" fmla="*/ 9995 h 10000"/>
              <a:gd name="connsiteX2" fmla="*/ 7054 w 10955"/>
              <a:gd name="connsiteY2" fmla="*/ 10000 h 10000"/>
              <a:gd name="connsiteX3" fmla="*/ 9955 w 10955"/>
              <a:gd name="connsiteY3" fmla="*/ 3543 h 10000"/>
              <a:gd name="connsiteX4" fmla="*/ 3716 w 10955"/>
              <a:gd name="connsiteY4" fmla="*/ 0 h 10000"/>
              <a:gd name="connsiteX0" fmla="*/ 198 w 10946"/>
              <a:gd name="connsiteY0" fmla="*/ 21 h 10000"/>
              <a:gd name="connsiteX1" fmla="*/ 186 w 10946"/>
              <a:gd name="connsiteY1" fmla="*/ 9995 h 10000"/>
              <a:gd name="connsiteX2" fmla="*/ 7045 w 10946"/>
              <a:gd name="connsiteY2" fmla="*/ 10000 h 10000"/>
              <a:gd name="connsiteX3" fmla="*/ 9946 w 10946"/>
              <a:gd name="connsiteY3" fmla="*/ 3543 h 10000"/>
              <a:gd name="connsiteX4" fmla="*/ 3707 w 10946"/>
              <a:gd name="connsiteY4" fmla="*/ 0 h 10000"/>
              <a:gd name="connsiteX0" fmla="*/ 12 w 10760"/>
              <a:gd name="connsiteY0" fmla="*/ 21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1927 w 10760"/>
              <a:gd name="connsiteY0" fmla="*/ 9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3264 w 10760"/>
              <a:gd name="connsiteY0" fmla="*/ 159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2883 w 10760"/>
              <a:gd name="connsiteY0" fmla="*/ 13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2 w 7879"/>
              <a:gd name="connsiteY0" fmla="*/ 13 h 10000"/>
              <a:gd name="connsiteX1" fmla="*/ 499 w 7879"/>
              <a:gd name="connsiteY1" fmla="*/ 9990 h 10000"/>
              <a:gd name="connsiteX2" fmla="*/ 3978 w 7879"/>
              <a:gd name="connsiteY2" fmla="*/ 10000 h 10000"/>
              <a:gd name="connsiteX3" fmla="*/ 6879 w 7879"/>
              <a:gd name="connsiteY3" fmla="*/ 3543 h 10000"/>
              <a:gd name="connsiteX4" fmla="*/ 640 w 7879"/>
              <a:gd name="connsiteY4" fmla="*/ 0 h 10000"/>
              <a:gd name="connsiteX0" fmla="*/ 16 w 10014"/>
              <a:gd name="connsiteY0" fmla="*/ 13 h 10002"/>
              <a:gd name="connsiteX1" fmla="*/ 0 w 10014"/>
              <a:gd name="connsiteY1" fmla="*/ 10002 h 10002"/>
              <a:gd name="connsiteX2" fmla="*/ 5062 w 10014"/>
              <a:gd name="connsiteY2" fmla="*/ 10000 h 10002"/>
              <a:gd name="connsiteX3" fmla="*/ 8744 w 10014"/>
              <a:gd name="connsiteY3" fmla="*/ 3543 h 10002"/>
              <a:gd name="connsiteX4" fmla="*/ 825 w 10014"/>
              <a:gd name="connsiteY4" fmla="*/ 0 h 10002"/>
              <a:gd name="connsiteX0" fmla="*/ 22 w 10020"/>
              <a:gd name="connsiteY0" fmla="*/ 13 h 10002"/>
              <a:gd name="connsiteX1" fmla="*/ 6 w 10020"/>
              <a:gd name="connsiteY1" fmla="*/ 10002 h 10002"/>
              <a:gd name="connsiteX2" fmla="*/ 5068 w 10020"/>
              <a:gd name="connsiteY2" fmla="*/ 10000 h 10002"/>
              <a:gd name="connsiteX3" fmla="*/ 8750 w 10020"/>
              <a:gd name="connsiteY3" fmla="*/ 3543 h 10002"/>
              <a:gd name="connsiteX4" fmla="*/ 831 w 10020"/>
              <a:gd name="connsiteY4" fmla="*/ 0 h 10002"/>
              <a:gd name="connsiteX0" fmla="*/ 24 w 10019"/>
              <a:gd name="connsiteY0" fmla="*/ 21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24 w 10019"/>
              <a:gd name="connsiteY0" fmla="*/ 15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24 w 10019"/>
              <a:gd name="connsiteY0" fmla="*/ 13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18 w 10027"/>
              <a:gd name="connsiteY0" fmla="*/ 15 h 10002"/>
              <a:gd name="connsiteX1" fmla="*/ 13 w 10027"/>
              <a:gd name="connsiteY1" fmla="*/ 10002 h 10002"/>
              <a:gd name="connsiteX2" fmla="*/ 5075 w 10027"/>
              <a:gd name="connsiteY2" fmla="*/ 10000 h 10002"/>
              <a:gd name="connsiteX3" fmla="*/ 8757 w 10027"/>
              <a:gd name="connsiteY3" fmla="*/ 3543 h 10002"/>
              <a:gd name="connsiteX4" fmla="*/ 838 w 10027"/>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25 w 10014"/>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01 w 10014"/>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01 w 10014"/>
              <a:gd name="connsiteY4" fmla="*/ 0 h 10002"/>
              <a:gd name="connsiteX0" fmla="*/ 5 w 9975"/>
              <a:gd name="connsiteY0" fmla="*/ 15 h 10002"/>
              <a:gd name="connsiteX1" fmla="*/ 0 w 9975"/>
              <a:gd name="connsiteY1" fmla="*/ 10002 h 10002"/>
              <a:gd name="connsiteX2" fmla="*/ 5062 w 9975"/>
              <a:gd name="connsiteY2" fmla="*/ 10000 h 10002"/>
              <a:gd name="connsiteX3" fmla="*/ 8744 w 9975"/>
              <a:gd name="connsiteY3" fmla="*/ 3543 h 10002"/>
              <a:gd name="connsiteX4" fmla="*/ 801 w 9975"/>
              <a:gd name="connsiteY4" fmla="*/ 0 h 10002"/>
              <a:gd name="connsiteX0" fmla="*/ 5 w 10033"/>
              <a:gd name="connsiteY0" fmla="*/ 15 h 10000"/>
              <a:gd name="connsiteX1" fmla="*/ 0 w 10033"/>
              <a:gd name="connsiteY1" fmla="*/ 10000 h 10000"/>
              <a:gd name="connsiteX2" fmla="*/ 5075 w 10033"/>
              <a:gd name="connsiteY2" fmla="*/ 9998 h 10000"/>
              <a:gd name="connsiteX3" fmla="*/ 8766 w 10033"/>
              <a:gd name="connsiteY3" fmla="*/ 3542 h 10000"/>
              <a:gd name="connsiteX4" fmla="*/ 803 w 10033"/>
              <a:gd name="connsiteY4" fmla="*/ 0 h 10000"/>
              <a:gd name="connsiteX0" fmla="*/ 0 w 10359"/>
              <a:gd name="connsiteY0" fmla="*/ 5 h 10000"/>
              <a:gd name="connsiteX1" fmla="*/ 326 w 10359"/>
              <a:gd name="connsiteY1" fmla="*/ 10000 h 10000"/>
              <a:gd name="connsiteX2" fmla="*/ 5401 w 10359"/>
              <a:gd name="connsiteY2" fmla="*/ 9998 h 10000"/>
              <a:gd name="connsiteX3" fmla="*/ 9092 w 10359"/>
              <a:gd name="connsiteY3" fmla="*/ 3542 h 10000"/>
              <a:gd name="connsiteX4" fmla="*/ 1129 w 10359"/>
              <a:gd name="connsiteY4" fmla="*/ 0 h 10000"/>
              <a:gd name="connsiteX0" fmla="*/ 11 w 10370"/>
              <a:gd name="connsiteY0" fmla="*/ 5 h 9998"/>
              <a:gd name="connsiteX1" fmla="*/ 0 w 10370"/>
              <a:gd name="connsiteY1" fmla="*/ 9983 h 9998"/>
              <a:gd name="connsiteX2" fmla="*/ 5412 w 10370"/>
              <a:gd name="connsiteY2" fmla="*/ 9998 h 9998"/>
              <a:gd name="connsiteX3" fmla="*/ 9103 w 10370"/>
              <a:gd name="connsiteY3" fmla="*/ 3542 h 9998"/>
              <a:gd name="connsiteX4" fmla="*/ 1140 w 10370"/>
              <a:gd name="connsiteY4" fmla="*/ 0 h 9998"/>
              <a:gd name="connsiteX0" fmla="*/ 11 w 10000"/>
              <a:gd name="connsiteY0" fmla="*/ 5 h 10000"/>
              <a:gd name="connsiteX1" fmla="*/ 0 w 10000"/>
              <a:gd name="connsiteY1" fmla="*/ 9995 h 10000"/>
              <a:gd name="connsiteX2" fmla="*/ 5219 w 10000"/>
              <a:gd name="connsiteY2" fmla="*/ 10000 h 10000"/>
              <a:gd name="connsiteX3" fmla="*/ 8778 w 10000"/>
              <a:gd name="connsiteY3" fmla="*/ 3543 h 10000"/>
              <a:gd name="connsiteX4" fmla="*/ 1099 w 10000"/>
              <a:gd name="connsiteY4" fmla="*/ 0 h 10000"/>
              <a:gd name="connsiteX0" fmla="*/ 11 w 10000"/>
              <a:gd name="connsiteY0" fmla="*/ 5 h 10000"/>
              <a:gd name="connsiteX1" fmla="*/ 0 w 10000"/>
              <a:gd name="connsiteY1" fmla="*/ 10000 h 10000"/>
              <a:gd name="connsiteX2" fmla="*/ 5219 w 10000"/>
              <a:gd name="connsiteY2" fmla="*/ 10000 h 10000"/>
              <a:gd name="connsiteX3" fmla="*/ 8778 w 10000"/>
              <a:gd name="connsiteY3" fmla="*/ 3543 h 10000"/>
              <a:gd name="connsiteX4" fmla="*/ 109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1" y="5"/>
                </a:moveTo>
                <a:cubicBezTo>
                  <a:pt x="4" y="653"/>
                  <a:pt x="6" y="9269"/>
                  <a:pt x="0" y="10000"/>
                </a:cubicBezTo>
                <a:lnTo>
                  <a:pt x="5219" y="10000"/>
                </a:lnTo>
                <a:cubicBezTo>
                  <a:pt x="11830" y="6870"/>
                  <a:pt x="10065" y="3822"/>
                  <a:pt x="8778" y="3543"/>
                </a:cubicBezTo>
                <a:cubicBezTo>
                  <a:pt x="9452" y="5694"/>
                  <a:pt x="2995" y="3804"/>
                  <a:pt x="1099" y="0"/>
                </a:cubicBezTo>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grpSp>
        <p:nvGrpSpPr>
          <p:cNvPr id="5" name="Group 4"/>
          <p:cNvGrpSpPr/>
          <p:nvPr/>
        </p:nvGrpSpPr>
        <p:grpSpPr>
          <a:xfrm>
            <a:off x="4938560" y="2397563"/>
            <a:ext cx="721601" cy="682904"/>
            <a:chOff x="5662614" y="3032124"/>
            <a:chExt cx="863600" cy="801689"/>
          </a:xfrm>
        </p:grpSpPr>
        <p:sp>
          <p:nvSpPr>
            <p:cNvPr id="6" name="Freeform 5"/>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 name="Freeform 6"/>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grpSp>
      <p:sp>
        <p:nvSpPr>
          <p:cNvPr id="16" name="Rectangle 15"/>
          <p:cNvSpPr/>
          <p:nvPr/>
        </p:nvSpPr>
        <p:spPr>
          <a:xfrm>
            <a:off x="803869" y="5063024"/>
            <a:ext cx="4024517" cy="723275"/>
          </a:xfrm>
          <a:prstGeom prst="rect">
            <a:avLst/>
          </a:prstGeom>
        </p:spPr>
        <p:txBody>
          <a:bodyPr wrap="square" lIns="0" tIns="0" rIns="0" bIns="0" anchor="b" anchorCtr="0">
            <a:spAutoFit/>
          </a:bodyPr>
          <a:lstStyle/>
          <a:p>
            <a:pPr>
              <a:spcAft>
                <a:spcPts val="600"/>
              </a:spcAft>
            </a:pPr>
            <a:r>
              <a:rPr lang="en-US" sz="1050" noProof="0">
                <a:solidFill>
                  <a:schemeClr val="bg1"/>
                </a:solidFill>
                <a:latin typeface="Verdana" panose="020B0604030504040204" pitchFamily="34" charset="0"/>
                <a:ea typeface="Verdana" panose="020B0604030504040204" pitchFamily="34" charset="0"/>
                <a:cs typeface="Verdana" panose="020B0604030504040204" pitchFamily="34" charset="0"/>
              </a:rPr>
              <a:t>This message contains information that may be privileged or confidential and is the property of the Capgemini Group.</a:t>
            </a:r>
            <a:br>
              <a:rPr lang="en-US" sz="1050" noProof="0">
                <a:solidFill>
                  <a:schemeClr val="bg1"/>
                </a:solidFill>
                <a:latin typeface="Verdana" panose="020B0604030504040204" pitchFamily="34" charset="0"/>
                <a:ea typeface="Verdana" panose="020B0604030504040204" pitchFamily="34" charset="0"/>
                <a:cs typeface="Verdana" panose="020B0604030504040204" pitchFamily="34" charset="0"/>
              </a:rPr>
            </a:br>
            <a:r>
              <a:rPr lang="en-US" sz="1050" noProof="0">
                <a:solidFill>
                  <a:schemeClr val="bg1"/>
                </a:solidFill>
                <a:latin typeface="Verdana" panose="020B0604030504040204" pitchFamily="34" charset="0"/>
                <a:ea typeface="Verdana" panose="020B0604030504040204" pitchFamily="34" charset="0"/>
                <a:cs typeface="Verdana" panose="020B0604030504040204" pitchFamily="34" charset="0"/>
              </a:rPr>
              <a:t>Copyright © 2018 Capgemini. All rights reserved.</a:t>
            </a:r>
          </a:p>
          <a:p>
            <a:pPr marL="0" marR="0" indent="0" defTabSz="957732" rtl="0" eaLnBrk="1" fontAlgn="auto" latinLnBrk="0" hangingPunct="1">
              <a:lnSpc>
                <a:spcPct val="100000"/>
              </a:lnSpc>
              <a:spcBef>
                <a:spcPts val="0"/>
              </a:spcBef>
              <a:spcAft>
                <a:spcPts val="600"/>
              </a:spcAft>
              <a:buClrTx/>
              <a:buSzTx/>
              <a:buFontTx/>
              <a:buNone/>
              <a:tabLst/>
              <a:defRPr/>
            </a:pPr>
            <a:r>
              <a:rPr lang="en-US" sz="1050" noProof="0">
                <a:solidFill>
                  <a:schemeClr val="bg1"/>
                </a:solidFill>
                <a:latin typeface="Verdana" panose="020B0604030504040204" pitchFamily="34" charset="0"/>
                <a:ea typeface="Verdana" panose="020B0604030504040204" pitchFamily="34" charset="0"/>
                <a:cs typeface="Verdana" panose="020B0604030504040204" pitchFamily="34" charset="0"/>
              </a:rPr>
              <a:t>Rightshore</a:t>
            </a:r>
            <a:r>
              <a:rPr lang="en-US" sz="1050" baseline="30000" noProof="0">
                <a:solidFill>
                  <a:schemeClr val="bg1"/>
                </a:solidFill>
                <a:latin typeface="Verdana" panose="020B0604030504040204" pitchFamily="34" charset="0"/>
                <a:ea typeface="Verdana" panose="020B0604030504040204" pitchFamily="34" charset="0"/>
                <a:cs typeface="Verdana" panose="020B0604030504040204" pitchFamily="34" charset="0"/>
              </a:rPr>
              <a:t>®</a:t>
            </a:r>
            <a:r>
              <a:rPr lang="en-US" sz="1050" noProof="0">
                <a:solidFill>
                  <a:schemeClr val="bg1"/>
                </a:solidFill>
                <a:latin typeface="Verdana" panose="020B0604030504040204" pitchFamily="34" charset="0"/>
                <a:ea typeface="Verdana" panose="020B0604030504040204" pitchFamily="34" charset="0"/>
                <a:cs typeface="Verdana" panose="020B0604030504040204" pitchFamily="34" charset="0"/>
              </a:rPr>
              <a:t> is a trademark belonging to Capgemini.</a:t>
            </a:r>
          </a:p>
        </p:txBody>
      </p:sp>
      <p:pic>
        <p:nvPicPr>
          <p:cNvPr id="24" name="Picture 2" descr="D:\My Work\Template\Icons\Social Media\LinkedIN.png">
            <a:hlinkClick r:id="rId7"/>
          </p:cNvPr>
          <p:cNvPicPr>
            <a:picLocks noChangeAspect="1" noChangeArrowheads="1"/>
          </p:cNvPicPr>
          <p:nvPr/>
        </p:nvPicPr>
        <p:blipFill>
          <a:blip r:embed="rId8" cstate="print"/>
          <a:srcRect/>
          <a:stretch>
            <a:fillRect/>
          </a:stretch>
        </p:blipFill>
        <p:spPr bwMode="auto">
          <a:xfrm>
            <a:off x="1237871" y="3450893"/>
            <a:ext cx="436028" cy="444511"/>
          </a:xfrm>
          <a:prstGeom prst="rect">
            <a:avLst/>
          </a:prstGeom>
          <a:noFill/>
        </p:spPr>
      </p:pic>
      <p:pic>
        <p:nvPicPr>
          <p:cNvPr id="25" name="Picture 4" descr="D:\My Work\Template\Icons\Social Media\SlideShare.png">
            <a:hlinkClick r:id="rId9"/>
          </p:cNvPr>
          <p:cNvPicPr>
            <a:picLocks noChangeAspect="1" noChangeArrowheads="1"/>
          </p:cNvPicPr>
          <p:nvPr/>
        </p:nvPicPr>
        <p:blipFill>
          <a:blip r:embed="rId10" cstate="print"/>
          <a:srcRect/>
          <a:stretch>
            <a:fillRect/>
          </a:stretch>
        </p:blipFill>
        <p:spPr bwMode="auto">
          <a:xfrm>
            <a:off x="1739569" y="3450893"/>
            <a:ext cx="436028" cy="444511"/>
          </a:xfrm>
          <a:prstGeom prst="rect">
            <a:avLst/>
          </a:prstGeom>
          <a:noFill/>
        </p:spPr>
      </p:pic>
      <p:pic>
        <p:nvPicPr>
          <p:cNvPr id="26" name="Picture 5" descr="D:\My Work\Template\Icons\Social Media\Twitter.png">
            <a:hlinkClick r:id="rId11"/>
          </p:cNvPr>
          <p:cNvPicPr>
            <a:picLocks noChangeAspect="1" noChangeArrowheads="1"/>
          </p:cNvPicPr>
          <p:nvPr/>
        </p:nvPicPr>
        <p:blipFill>
          <a:blip r:embed="rId12" cstate="print"/>
          <a:srcRect/>
          <a:stretch>
            <a:fillRect/>
          </a:stretch>
        </p:blipFill>
        <p:spPr bwMode="auto">
          <a:xfrm>
            <a:off x="2241265" y="3450893"/>
            <a:ext cx="436028" cy="444511"/>
          </a:xfrm>
          <a:prstGeom prst="rect">
            <a:avLst/>
          </a:prstGeom>
          <a:noFill/>
        </p:spPr>
      </p:pic>
      <p:pic>
        <p:nvPicPr>
          <p:cNvPr id="27" name="Picture 6" descr="D:\My Work\Template\Icons\Social Media\YouTube.png">
            <a:hlinkClick r:id="rId13"/>
          </p:cNvPr>
          <p:cNvPicPr>
            <a:picLocks noChangeAspect="1" noChangeArrowheads="1"/>
          </p:cNvPicPr>
          <p:nvPr/>
        </p:nvPicPr>
        <p:blipFill>
          <a:blip r:embed="rId14" cstate="print"/>
          <a:srcRect/>
          <a:stretch>
            <a:fillRect/>
          </a:stretch>
        </p:blipFill>
        <p:spPr bwMode="auto">
          <a:xfrm>
            <a:off x="2742961" y="3450893"/>
            <a:ext cx="436028" cy="444511"/>
          </a:xfrm>
          <a:prstGeom prst="rect">
            <a:avLst/>
          </a:prstGeom>
          <a:noFill/>
        </p:spPr>
      </p:pic>
      <p:pic>
        <p:nvPicPr>
          <p:cNvPr id="28" name="Picture 7" descr="D:\My Work\Template\Icons\Social Media\Facebook.png">
            <a:hlinkClick r:id="rId15"/>
          </p:cNvPr>
          <p:cNvPicPr>
            <a:picLocks noChangeAspect="1" noChangeArrowheads="1"/>
          </p:cNvPicPr>
          <p:nvPr/>
        </p:nvPicPr>
        <p:blipFill>
          <a:blip r:embed="rId16" cstate="print"/>
          <a:srcRect/>
          <a:stretch>
            <a:fillRect/>
          </a:stretch>
        </p:blipFill>
        <p:spPr bwMode="auto">
          <a:xfrm>
            <a:off x="736173" y="3450893"/>
            <a:ext cx="436028" cy="444511"/>
          </a:xfrm>
          <a:prstGeom prst="rect">
            <a:avLst/>
          </a:prstGeom>
          <a:noFill/>
        </p:spPr>
      </p:pic>
      <p:pic>
        <p:nvPicPr>
          <p:cNvPr id="29" name="Picture 28"/>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726401" y="4057788"/>
            <a:ext cx="3350504" cy="268168"/>
          </a:xfrm>
          <a:prstGeom prst="rect">
            <a:avLst/>
          </a:prstGeom>
        </p:spPr>
      </p:pic>
    </p:spTree>
    <p:extLst>
      <p:ext uri="{BB962C8B-B14F-4D97-AF65-F5344CB8AC3E}">
        <p14:creationId xmlns:p14="http://schemas.microsoft.com/office/powerpoint/2010/main" val="307747850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3_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20482"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2400"/>
            </a:lvl1pPr>
          </a:lstStyle>
          <a:p>
            <a:r>
              <a:rPr lang="en-US" noProof="0" dirty="0"/>
              <a:t>Click to edit Master title style</a:t>
            </a:r>
            <a:endParaRPr lang="en-US" dirty="0"/>
          </a:p>
        </p:txBody>
      </p:sp>
    </p:spTree>
    <p:extLst>
      <p:ext uri="{BB962C8B-B14F-4D97-AF65-F5344CB8AC3E}">
        <p14:creationId xmlns:p14="http://schemas.microsoft.com/office/powerpoint/2010/main" val="3201114529"/>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21506"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2400"/>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66"/>
            <a:ext cx="11793979" cy="4643751"/>
          </a:xfrm>
        </p:spPr>
        <p:txBody>
          <a:bodyPr/>
          <a:lstStyle>
            <a:lvl1pPr>
              <a:buClr>
                <a:schemeClr val="accent2"/>
              </a:buClr>
              <a:defRPr b="0"/>
            </a:lvl1pPr>
            <a:lvl2pPr marL="533387" indent="-205312">
              <a:buFont typeface="Arial" panose="020B0604020202020204" pitchFamily="34" charset="0"/>
              <a:buChar char="̶"/>
              <a:defRPr/>
            </a:lvl2pPr>
            <a:lvl3pPr marL="761981" indent="-186262">
              <a:defRPr/>
            </a:lvl3pPr>
            <a:lvl4pPr marL="990575" indent="-186262">
              <a:buFont typeface="Courier New" panose="02070309020205020404" pitchFamily="49" charset="0"/>
              <a:buChar char="o"/>
              <a:defRPr/>
            </a:lvl4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3901536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1_Section break 3">
    <p:spTree>
      <p:nvGrpSpPr>
        <p:cNvPr id="1" name=""/>
        <p:cNvGrpSpPr/>
        <p:nvPr/>
      </p:nvGrpSpPr>
      <p:grpSpPr>
        <a:xfrm>
          <a:off x="0" y="0"/>
          <a:ext cx="0" cy="0"/>
          <a:chOff x="0" y="0"/>
          <a:chExt cx="0" cy="0"/>
        </a:xfrm>
      </p:grpSpPr>
      <p:pic>
        <p:nvPicPr>
          <p:cNvPr id="9" name="Picture Placeholder 2"/>
          <p:cNvPicPr>
            <a:picLocks noChangeAspect="1"/>
          </p:cNvPicPr>
          <p:nvPr/>
        </p:nvPicPr>
        <p:blipFill rotWithShape="1">
          <a:blip r:embed="rId4" cstate="print">
            <a:extLst>
              <a:ext uri="{28A0092B-C50C-407E-A947-70E740481C1C}">
                <a14:useLocalDpi xmlns:a14="http://schemas.microsoft.com/office/drawing/2010/main" val="0"/>
              </a:ext>
            </a:extLst>
          </a:blip>
          <a:srcRect l="1740" t="18900" r="1740"/>
          <a:stretch/>
        </p:blipFill>
        <p:spPr>
          <a:xfrm>
            <a:off x="3174" y="0"/>
            <a:ext cx="12230232" cy="6859588"/>
          </a:xfrm>
          <a:prstGeom prst="rect">
            <a:avLst/>
          </a:prstGeom>
        </p:spPr>
      </p:pic>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2530" name="think-cell Slide" r:id="rId5" imgW="270" imgH="270" progId="TCLayout.ActiveDocument.1">
                  <p:embed/>
                </p:oleObj>
              </mc:Choice>
              <mc:Fallback>
                <p:oleObj name="think-cell Slide" r:id="rId5" imgW="270" imgH="270" progId="TCLayout.ActiveDocument.1">
                  <p:embed/>
                  <p:pic>
                    <p:nvPicPr>
                      <p:cNvPr id="10" name="Object 9"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6">
            <a:extLst>
              <a:ext uri="{FF2B5EF4-FFF2-40B4-BE49-F238E27FC236}">
                <a16:creationId xmlns:a16="http://schemas.microsoft.com/office/drawing/2014/main" id="{631F0F0A-472B-4CAB-88F4-DEDA90391D49}"/>
              </a:ext>
            </a:extLst>
          </p:cNvPr>
          <p:cNvSpPr>
            <a:spLocks/>
          </p:cNvSpPr>
          <p:nvPr/>
        </p:nvSpPr>
        <p:spPr bwMode="auto">
          <a:xfrm flipV="1">
            <a:off x="4089400" y="1771574"/>
            <a:ext cx="8140700" cy="5086426"/>
          </a:xfrm>
          <a:custGeom>
            <a:avLst/>
            <a:gdLst/>
            <a:ahLst/>
            <a:cxnLst>
              <a:cxn ang="0">
                <a:pos x="1871" y="215"/>
              </a:cxn>
              <a:cxn ang="0">
                <a:pos x="1871" y="223"/>
              </a:cxn>
              <a:cxn ang="0">
                <a:pos x="1868" y="226"/>
              </a:cxn>
              <a:cxn ang="0">
                <a:pos x="1857" y="280"/>
              </a:cxn>
              <a:cxn ang="0">
                <a:pos x="1803" y="433"/>
              </a:cxn>
              <a:cxn ang="0">
                <a:pos x="1706" y="562"/>
              </a:cxn>
              <a:cxn ang="0">
                <a:pos x="1530" y="646"/>
              </a:cxn>
              <a:cxn ang="0">
                <a:pos x="1442" y="654"/>
              </a:cxn>
              <a:cxn ang="0">
                <a:pos x="1431" y="649"/>
              </a:cxn>
              <a:cxn ang="0">
                <a:pos x="1374" y="588"/>
              </a:cxn>
              <a:cxn ang="0">
                <a:pos x="1221" y="521"/>
              </a:cxn>
              <a:cxn ang="0">
                <a:pos x="1005" y="471"/>
              </a:cxn>
              <a:cxn ang="0">
                <a:pos x="680" y="410"/>
              </a:cxn>
              <a:cxn ang="0">
                <a:pos x="399" y="335"/>
              </a:cxn>
              <a:cxn ang="0">
                <a:pos x="173" y="224"/>
              </a:cxn>
              <a:cxn ang="0">
                <a:pos x="12" y="36"/>
              </a:cxn>
              <a:cxn ang="0">
                <a:pos x="1" y="0"/>
              </a:cxn>
              <a:cxn ang="0">
                <a:pos x="49" y="0"/>
              </a:cxn>
              <a:cxn ang="0">
                <a:pos x="1856" y="0"/>
              </a:cxn>
              <a:cxn ang="0">
                <a:pos x="1869" y="13"/>
              </a:cxn>
              <a:cxn ang="0">
                <a:pos x="1869" y="205"/>
              </a:cxn>
              <a:cxn ang="0">
                <a:pos x="1871" y="215"/>
              </a:cxn>
            </a:cxnLst>
            <a:rect l="0" t="0" r="r" b="b"/>
            <a:pathLst>
              <a:path w="1871" h="654">
                <a:moveTo>
                  <a:pt x="1871" y="215"/>
                </a:moveTo>
                <a:cubicBezTo>
                  <a:pt x="1871" y="217"/>
                  <a:pt x="1871" y="220"/>
                  <a:pt x="1871" y="223"/>
                </a:cubicBezTo>
                <a:cubicBezTo>
                  <a:pt x="1869" y="223"/>
                  <a:pt x="1869" y="225"/>
                  <a:pt x="1868" y="226"/>
                </a:cubicBezTo>
                <a:cubicBezTo>
                  <a:pt x="1865" y="244"/>
                  <a:pt x="1861" y="262"/>
                  <a:pt x="1857" y="280"/>
                </a:cubicBezTo>
                <a:cubicBezTo>
                  <a:pt x="1845" y="333"/>
                  <a:pt x="1828" y="384"/>
                  <a:pt x="1803" y="433"/>
                </a:cubicBezTo>
                <a:cubicBezTo>
                  <a:pt x="1778" y="482"/>
                  <a:pt x="1747" y="525"/>
                  <a:pt x="1706" y="562"/>
                </a:cubicBezTo>
                <a:cubicBezTo>
                  <a:pt x="1656" y="607"/>
                  <a:pt x="1597" y="635"/>
                  <a:pt x="1530" y="646"/>
                </a:cubicBezTo>
                <a:cubicBezTo>
                  <a:pt x="1501" y="652"/>
                  <a:pt x="1472" y="654"/>
                  <a:pt x="1442" y="654"/>
                </a:cubicBezTo>
                <a:cubicBezTo>
                  <a:pt x="1437" y="654"/>
                  <a:pt x="1434" y="653"/>
                  <a:pt x="1431" y="649"/>
                </a:cubicBezTo>
                <a:cubicBezTo>
                  <a:pt x="1417" y="623"/>
                  <a:pt x="1397" y="604"/>
                  <a:pt x="1374" y="588"/>
                </a:cubicBezTo>
                <a:cubicBezTo>
                  <a:pt x="1327" y="556"/>
                  <a:pt x="1274" y="537"/>
                  <a:pt x="1221" y="521"/>
                </a:cubicBezTo>
                <a:cubicBezTo>
                  <a:pt x="1150" y="500"/>
                  <a:pt x="1078" y="485"/>
                  <a:pt x="1005" y="471"/>
                </a:cubicBezTo>
                <a:cubicBezTo>
                  <a:pt x="897" y="450"/>
                  <a:pt x="788" y="432"/>
                  <a:pt x="680" y="410"/>
                </a:cubicBezTo>
                <a:cubicBezTo>
                  <a:pt x="585" y="390"/>
                  <a:pt x="490" y="367"/>
                  <a:pt x="399" y="335"/>
                </a:cubicBezTo>
                <a:cubicBezTo>
                  <a:pt x="319" y="307"/>
                  <a:pt x="243" y="272"/>
                  <a:pt x="173" y="224"/>
                </a:cubicBezTo>
                <a:cubicBezTo>
                  <a:pt x="104" y="175"/>
                  <a:pt x="47" y="114"/>
                  <a:pt x="12" y="36"/>
                </a:cubicBezTo>
                <a:cubicBezTo>
                  <a:pt x="7" y="24"/>
                  <a:pt x="0" y="13"/>
                  <a:pt x="1" y="0"/>
                </a:cubicBezTo>
                <a:cubicBezTo>
                  <a:pt x="17" y="0"/>
                  <a:pt x="33" y="0"/>
                  <a:pt x="49" y="0"/>
                </a:cubicBezTo>
                <a:cubicBezTo>
                  <a:pt x="651" y="0"/>
                  <a:pt x="1254" y="0"/>
                  <a:pt x="1856" y="0"/>
                </a:cubicBezTo>
                <a:cubicBezTo>
                  <a:pt x="1869" y="0"/>
                  <a:pt x="1869" y="0"/>
                  <a:pt x="1869" y="13"/>
                </a:cubicBezTo>
                <a:cubicBezTo>
                  <a:pt x="1869" y="77"/>
                  <a:pt x="1869" y="141"/>
                  <a:pt x="1869" y="205"/>
                </a:cubicBezTo>
                <a:cubicBezTo>
                  <a:pt x="1869" y="208"/>
                  <a:pt x="1868" y="212"/>
                  <a:pt x="1871" y="215"/>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6226508" y="4574713"/>
            <a:ext cx="5419268"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3875649207"/>
      </p:ext>
    </p:extLst>
  </p:cSld>
  <p:clrMapOvr>
    <a:masterClrMapping/>
  </p:clrMapOvr>
  <p:extLst>
    <p:ext uri="{DCECCB84-F9BA-43D5-87BE-67443E8EF086}">
      <p15:sldGuideLst xmlns:p15="http://schemas.microsoft.com/office/powerpoint/2012/main">
        <p15:guide id="1" pos="279">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Title with Lead Line &amp; Bulleted List">
    <p:spTree>
      <p:nvGrpSpPr>
        <p:cNvPr id="1" name=""/>
        <p:cNvGrpSpPr/>
        <p:nvPr/>
      </p:nvGrpSpPr>
      <p:grpSpPr>
        <a:xfrm>
          <a:off x="0" y="0"/>
          <a:ext cx="0" cy="0"/>
          <a:chOff x="0" y="0"/>
          <a:chExt cx="0" cy="0"/>
        </a:xfrm>
      </p:grpSpPr>
      <p:sp>
        <p:nvSpPr>
          <p:cNvPr id="2" name="Title 1"/>
          <p:cNvSpPr>
            <a:spLocks noGrp="1"/>
          </p:cNvSpPr>
          <p:nvPr>
            <p:ph type="title"/>
          </p:nvPr>
        </p:nvSpPr>
        <p:spPr>
          <a:xfrm>
            <a:off x="423336" y="25263"/>
            <a:ext cx="11368617" cy="822960"/>
          </a:xfrm>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423336" y="1005841"/>
            <a:ext cx="11368617" cy="1293496"/>
          </a:xfrm>
          <a:noFill/>
          <a:ln w="9525" algn="ctr">
            <a:noFill/>
            <a:miter lim="800000"/>
            <a:headEnd/>
            <a:tailEnd/>
          </a:ln>
          <a:effectLst/>
        </p:spPr>
        <p:txBody>
          <a:bodyPr vert="horz" wrap="square" lIns="0" tIns="0" rIns="0" bIns="0" numCol="1" anchor="t" anchorCtr="0" compatLnSpc="1">
            <a:prstTxWarp prst="textNoShape">
              <a:avLst/>
            </a:prstTxWarp>
            <a:spAutoFit/>
          </a:bodyPr>
          <a:lstStyle>
            <a:lvl1pPr marL="0" indent="0" algn="l" defTabSz="914382" rtl="0" eaLnBrk="0" fontAlgn="base" latinLnBrk="0" hangingPunct="0">
              <a:spcBef>
                <a:spcPct val="0"/>
              </a:spcBef>
              <a:spcAft>
                <a:spcPts val="600"/>
              </a:spcAft>
              <a:buClr>
                <a:schemeClr val="accent2"/>
              </a:buClr>
              <a:buNone/>
              <a:defRPr lang="en-US" sz="1577" b="1" kern="1200" dirty="0" smtClean="0">
                <a:solidFill>
                  <a:schemeClr val="tx1"/>
                </a:solidFill>
                <a:latin typeface="Arial" pitchFamily="34" charset="0"/>
                <a:ea typeface="+mn-ea"/>
                <a:cs typeface="Arial" pitchFamily="34" charset="0"/>
              </a:defRPr>
            </a:lvl1pPr>
            <a:lvl2pPr marL="233359" indent="-233359" algn="l" defTabSz="914382" rtl="0" eaLnBrk="0" fontAlgn="base" latinLnBrk="0" hangingPunct="0">
              <a:spcBef>
                <a:spcPct val="0"/>
              </a:spcBef>
              <a:spcAft>
                <a:spcPts val="600"/>
              </a:spcAft>
              <a:buClr>
                <a:schemeClr val="accent2"/>
              </a:buClr>
              <a:buFont typeface="Wingdings" pitchFamily="2" charset="2"/>
              <a:buChar char="§"/>
              <a:defRPr lang="en-US" sz="1577" b="0" kern="1200" dirty="0" smtClean="0">
                <a:solidFill>
                  <a:schemeClr val="tx1"/>
                </a:solidFill>
                <a:latin typeface="Arial" pitchFamily="34" charset="0"/>
                <a:ea typeface="+mn-ea"/>
                <a:cs typeface="Arial" pitchFamily="34" charset="0"/>
              </a:defRPr>
            </a:lvl2pPr>
            <a:lvl3pPr marL="457191" indent="-223834" algn="l" defTabSz="914382" rtl="0" eaLnBrk="0" fontAlgn="base" latinLnBrk="0" hangingPunct="0">
              <a:spcBef>
                <a:spcPct val="0"/>
              </a:spcBef>
              <a:spcAft>
                <a:spcPts val="600"/>
              </a:spcAft>
              <a:buClr>
                <a:schemeClr val="accent2"/>
              </a:buClr>
              <a:buFont typeface="Arial" pitchFamily="34" charset="0"/>
              <a:buChar char="–"/>
              <a:defRPr lang="en-US" sz="1427" b="0" kern="1200" dirty="0" smtClean="0">
                <a:solidFill>
                  <a:schemeClr val="tx1"/>
                </a:solidFill>
                <a:latin typeface="Arial" pitchFamily="34" charset="0"/>
                <a:ea typeface="+mn-ea"/>
                <a:cs typeface="Arial" pitchFamily="34" charset="0"/>
              </a:defRPr>
            </a:lvl3pPr>
            <a:lvl4pPr marL="690551" indent="-233359" algn="l" defTabSz="914382" rtl="0" eaLnBrk="0" fontAlgn="base" latinLnBrk="0" hangingPunct="0">
              <a:spcBef>
                <a:spcPct val="0"/>
              </a:spcBef>
              <a:spcAft>
                <a:spcPts val="600"/>
              </a:spcAft>
              <a:buClr>
                <a:schemeClr val="accent2"/>
              </a:buClr>
              <a:buFont typeface="Arial" pitchFamily="34" charset="0"/>
              <a:buChar char="•"/>
              <a:defRPr lang="en-US" sz="1201" b="0" kern="1200" dirty="0" smtClean="0">
                <a:solidFill>
                  <a:schemeClr val="tx1"/>
                </a:solidFill>
                <a:latin typeface="Arial" pitchFamily="34" charset="0"/>
                <a:ea typeface="+mn-ea"/>
                <a:cs typeface="Arial" pitchFamily="34" charset="0"/>
              </a:defRPr>
            </a:lvl4pPr>
            <a:lvl5pPr marL="914382" indent="-223834" algn="l" defTabSz="914382" rtl="0" eaLnBrk="0" fontAlgn="base" latinLnBrk="0" hangingPunct="0">
              <a:spcBef>
                <a:spcPct val="0"/>
              </a:spcBef>
              <a:spcAft>
                <a:spcPts val="600"/>
              </a:spcAft>
              <a:buClr>
                <a:schemeClr val="accent2"/>
              </a:buClr>
              <a:buFont typeface="Arial" pitchFamily="34" charset="0"/>
              <a:buChar char="–"/>
              <a:defRPr lang="en-US" sz="1201" b="0" kern="1200" dirty="0" smtClean="0">
                <a:solidFill>
                  <a:schemeClr val="tx1"/>
                </a:solidFill>
                <a:latin typeface="Arial" pitchFamily="34" charset="0"/>
                <a:ea typeface="+mn-ea"/>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056918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2_Section Header">
    <p:bg>
      <p:bgPr>
        <a:solidFill>
          <a:schemeClr val="bg2"/>
        </a:solidFill>
        <a:effectLst/>
      </p:bgPr>
    </p:bg>
    <p:spTree>
      <p:nvGrpSpPr>
        <p:cNvPr id="1" name=""/>
        <p:cNvGrpSpPr/>
        <p:nvPr/>
      </p:nvGrpSpPr>
      <p:grpSpPr>
        <a:xfrm>
          <a:off x="0" y="0"/>
          <a:ext cx="0" cy="0"/>
          <a:chOff x="0" y="0"/>
          <a:chExt cx="0" cy="0"/>
        </a:xfrm>
      </p:grpSpPr>
      <p:sp>
        <p:nvSpPr>
          <p:cNvPr id="8" name="Freeform 7"/>
          <p:cNvSpPr/>
          <p:nvPr userDrawn="1"/>
        </p:nvSpPr>
        <p:spPr>
          <a:xfrm>
            <a:off x="4189459" y="-56047"/>
            <a:ext cx="8091442" cy="6972502"/>
          </a:xfrm>
          <a:custGeom>
            <a:avLst/>
            <a:gdLst>
              <a:gd name="connsiteX0" fmla="*/ 8442036 w 8442036"/>
              <a:gd name="connsiteY0" fmla="*/ 9237 h 6862618"/>
              <a:gd name="connsiteX1" fmla="*/ 8442036 w 8442036"/>
              <a:gd name="connsiteY1" fmla="*/ 6862618 h 6862618"/>
              <a:gd name="connsiteX2" fmla="*/ 6576291 w 8442036"/>
              <a:gd name="connsiteY2" fmla="*/ 6862618 h 6862618"/>
              <a:gd name="connsiteX3" fmla="*/ 5440218 w 8442036"/>
              <a:gd name="connsiteY3" fmla="*/ 5902037 h 6862618"/>
              <a:gd name="connsiteX4" fmla="*/ 0 w 8442036"/>
              <a:gd name="connsiteY4" fmla="*/ 0 h 6862618"/>
              <a:gd name="connsiteX5" fmla="*/ 8442036 w 8442036"/>
              <a:gd name="connsiteY5"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52918 w 8442036"/>
              <a:gd name="connsiteY3" fmla="*/ 5927437 h 6862618"/>
              <a:gd name="connsiteX4" fmla="*/ 0 w 8442036"/>
              <a:gd name="connsiteY4" fmla="*/ 0 h 6862618"/>
              <a:gd name="connsiteX5" fmla="*/ 8442036 w 8442036"/>
              <a:gd name="connsiteY5"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0 w 8442036"/>
              <a:gd name="connsiteY4" fmla="*/ 0 h 6862618"/>
              <a:gd name="connsiteX5" fmla="*/ 8442036 w 8442036"/>
              <a:gd name="connsiteY5"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0 w 8442036"/>
              <a:gd name="connsiteY4" fmla="*/ 0 h 6862618"/>
              <a:gd name="connsiteX5" fmla="*/ 8442036 w 8442036"/>
              <a:gd name="connsiteY5"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0 w 8442036"/>
              <a:gd name="connsiteY4" fmla="*/ 0 h 6862618"/>
              <a:gd name="connsiteX5" fmla="*/ 8442036 w 8442036"/>
              <a:gd name="connsiteY5"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0 w 8442036"/>
              <a:gd name="connsiteY4" fmla="*/ 0 h 6862618"/>
              <a:gd name="connsiteX5" fmla="*/ 8442036 w 8442036"/>
              <a:gd name="connsiteY5"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0 w 8442036"/>
              <a:gd name="connsiteY4" fmla="*/ 0 h 6862618"/>
              <a:gd name="connsiteX5" fmla="*/ 8442036 w 8442036"/>
              <a:gd name="connsiteY5"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0 w 8442036"/>
              <a:gd name="connsiteY4" fmla="*/ 0 h 6862618"/>
              <a:gd name="connsiteX5" fmla="*/ 8442036 w 8442036"/>
              <a:gd name="connsiteY5" fmla="*/ 9237 h 6862618"/>
              <a:gd name="connsiteX0" fmla="*/ 8581439 w 8581439"/>
              <a:gd name="connsiteY0" fmla="*/ 9237 h 6862618"/>
              <a:gd name="connsiteX1" fmla="*/ 8581439 w 8581439"/>
              <a:gd name="connsiteY1" fmla="*/ 6862618 h 6862618"/>
              <a:gd name="connsiteX2" fmla="*/ 6715694 w 8581439"/>
              <a:gd name="connsiteY2" fmla="*/ 6862618 h 6862618"/>
              <a:gd name="connsiteX3" fmla="*/ 5566921 w 8581439"/>
              <a:gd name="connsiteY3" fmla="*/ 5882987 h 6862618"/>
              <a:gd name="connsiteX4" fmla="*/ 3477194 w 8581439"/>
              <a:gd name="connsiteY4" fmla="*/ 2545773 h 6862618"/>
              <a:gd name="connsiteX5" fmla="*/ 139403 w 8581439"/>
              <a:gd name="connsiteY5" fmla="*/ 0 h 6862618"/>
              <a:gd name="connsiteX6" fmla="*/ 8581439 w 8581439"/>
              <a:gd name="connsiteY6" fmla="*/ 9237 h 6862618"/>
              <a:gd name="connsiteX0" fmla="*/ 8571618 w 8571618"/>
              <a:gd name="connsiteY0" fmla="*/ 9237 h 6862618"/>
              <a:gd name="connsiteX1" fmla="*/ 8571618 w 8571618"/>
              <a:gd name="connsiteY1" fmla="*/ 6862618 h 6862618"/>
              <a:gd name="connsiteX2" fmla="*/ 6705873 w 8571618"/>
              <a:gd name="connsiteY2" fmla="*/ 6862618 h 6862618"/>
              <a:gd name="connsiteX3" fmla="*/ 5557100 w 8571618"/>
              <a:gd name="connsiteY3" fmla="*/ 5882987 h 6862618"/>
              <a:gd name="connsiteX4" fmla="*/ 3765823 w 8571618"/>
              <a:gd name="connsiteY4" fmla="*/ 2501323 h 6862618"/>
              <a:gd name="connsiteX5" fmla="*/ 129582 w 8571618"/>
              <a:gd name="connsiteY5" fmla="*/ 0 h 6862618"/>
              <a:gd name="connsiteX6" fmla="*/ 8571618 w 8571618"/>
              <a:gd name="connsiteY6" fmla="*/ 9237 h 6862618"/>
              <a:gd name="connsiteX0" fmla="*/ 8571618 w 8571618"/>
              <a:gd name="connsiteY0" fmla="*/ 9237 h 6862618"/>
              <a:gd name="connsiteX1" fmla="*/ 8571618 w 8571618"/>
              <a:gd name="connsiteY1" fmla="*/ 6862618 h 6862618"/>
              <a:gd name="connsiteX2" fmla="*/ 6705873 w 8571618"/>
              <a:gd name="connsiteY2" fmla="*/ 6862618 h 6862618"/>
              <a:gd name="connsiteX3" fmla="*/ 5557100 w 8571618"/>
              <a:gd name="connsiteY3" fmla="*/ 5882987 h 6862618"/>
              <a:gd name="connsiteX4" fmla="*/ 3765823 w 8571618"/>
              <a:gd name="connsiteY4" fmla="*/ 2501323 h 6862618"/>
              <a:gd name="connsiteX5" fmla="*/ 129582 w 8571618"/>
              <a:gd name="connsiteY5" fmla="*/ 0 h 6862618"/>
              <a:gd name="connsiteX6" fmla="*/ 8571618 w 8571618"/>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636241 w 8442036"/>
              <a:gd name="connsiteY4" fmla="*/ 250132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636241 w 8442036"/>
              <a:gd name="connsiteY4" fmla="*/ 250132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636241 w 8442036"/>
              <a:gd name="connsiteY4" fmla="*/ 250132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572741 w 8442036"/>
              <a:gd name="connsiteY4" fmla="*/ 246957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572741 w 8442036"/>
              <a:gd name="connsiteY4" fmla="*/ 246957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572741 w 8442036"/>
              <a:gd name="connsiteY4" fmla="*/ 246957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572741 w 8442036"/>
              <a:gd name="connsiteY4" fmla="*/ 246957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572741 w 8442036"/>
              <a:gd name="connsiteY4" fmla="*/ 246957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572741 w 8442036"/>
              <a:gd name="connsiteY4" fmla="*/ 2469573 h 6862618"/>
              <a:gd name="connsiteX5" fmla="*/ 0 w 8442036"/>
              <a:gd name="connsiteY5" fmla="*/ 0 h 6862618"/>
              <a:gd name="connsiteX6" fmla="*/ 8442036 w 8442036"/>
              <a:gd name="connsiteY6" fmla="*/ 9237 h 6862618"/>
              <a:gd name="connsiteX0" fmla="*/ 8708736 w 8708736"/>
              <a:gd name="connsiteY0" fmla="*/ 9237 h 6862618"/>
              <a:gd name="connsiteX1" fmla="*/ 8442036 w 8708736"/>
              <a:gd name="connsiteY1" fmla="*/ 6862618 h 6862618"/>
              <a:gd name="connsiteX2" fmla="*/ 6576291 w 8708736"/>
              <a:gd name="connsiteY2" fmla="*/ 6862618 h 6862618"/>
              <a:gd name="connsiteX3" fmla="*/ 5427518 w 8708736"/>
              <a:gd name="connsiteY3" fmla="*/ 5882987 h 6862618"/>
              <a:gd name="connsiteX4" fmla="*/ 3572741 w 8708736"/>
              <a:gd name="connsiteY4" fmla="*/ 2469573 h 6862618"/>
              <a:gd name="connsiteX5" fmla="*/ 0 w 8708736"/>
              <a:gd name="connsiteY5" fmla="*/ 0 h 6862618"/>
              <a:gd name="connsiteX6" fmla="*/ 8708736 w 8708736"/>
              <a:gd name="connsiteY6" fmla="*/ 9237 h 6862618"/>
              <a:gd name="connsiteX0" fmla="*/ 8708736 w 8708736"/>
              <a:gd name="connsiteY0" fmla="*/ 9237 h 6868968"/>
              <a:gd name="connsiteX1" fmla="*/ 8683336 w 8708736"/>
              <a:gd name="connsiteY1" fmla="*/ 6868968 h 6868968"/>
              <a:gd name="connsiteX2" fmla="*/ 6576291 w 8708736"/>
              <a:gd name="connsiteY2" fmla="*/ 6862618 h 6868968"/>
              <a:gd name="connsiteX3" fmla="*/ 5427518 w 8708736"/>
              <a:gd name="connsiteY3" fmla="*/ 5882987 h 6868968"/>
              <a:gd name="connsiteX4" fmla="*/ 3572741 w 8708736"/>
              <a:gd name="connsiteY4" fmla="*/ 2469573 h 6868968"/>
              <a:gd name="connsiteX5" fmla="*/ 0 w 8708736"/>
              <a:gd name="connsiteY5" fmla="*/ 0 h 6868968"/>
              <a:gd name="connsiteX6" fmla="*/ 8708736 w 8708736"/>
              <a:gd name="connsiteY6" fmla="*/ 9237 h 6868968"/>
              <a:gd name="connsiteX0" fmla="*/ 8708736 w 8708736"/>
              <a:gd name="connsiteY0" fmla="*/ 9237 h 6868968"/>
              <a:gd name="connsiteX1" fmla="*/ 8683336 w 8708736"/>
              <a:gd name="connsiteY1" fmla="*/ 6868968 h 6868968"/>
              <a:gd name="connsiteX2" fmla="*/ 6576291 w 8708736"/>
              <a:gd name="connsiteY2" fmla="*/ 6862618 h 6868968"/>
              <a:gd name="connsiteX3" fmla="*/ 5427518 w 8708736"/>
              <a:gd name="connsiteY3" fmla="*/ 5882987 h 6868968"/>
              <a:gd name="connsiteX4" fmla="*/ 3572741 w 8708736"/>
              <a:gd name="connsiteY4" fmla="*/ 2469573 h 6868968"/>
              <a:gd name="connsiteX5" fmla="*/ 0 w 8708736"/>
              <a:gd name="connsiteY5" fmla="*/ 0 h 6868968"/>
              <a:gd name="connsiteX6" fmla="*/ 8708736 w 8708736"/>
              <a:gd name="connsiteY6" fmla="*/ 9237 h 6868968"/>
              <a:gd name="connsiteX0" fmla="*/ 8708736 w 8708736"/>
              <a:gd name="connsiteY0" fmla="*/ 9237 h 6862912"/>
              <a:gd name="connsiteX1" fmla="*/ 8671224 w 8708736"/>
              <a:gd name="connsiteY1" fmla="*/ 6862912 h 6862912"/>
              <a:gd name="connsiteX2" fmla="*/ 6576291 w 8708736"/>
              <a:gd name="connsiteY2" fmla="*/ 6862618 h 6862912"/>
              <a:gd name="connsiteX3" fmla="*/ 5427518 w 8708736"/>
              <a:gd name="connsiteY3" fmla="*/ 5882987 h 6862912"/>
              <a:gd name="connsiteX4" fmla="*/ 3572741 w 8708736"/>
              <a:gd name="connsiteY4" fmla="*/ 2469573 h 6862912"/>
              <a:gd name="connsiteX5" fmla="*/ 0 w 8708736"/>
              <a:gd name="connsiteY5" fmla="*/ 0 h 6862912"/>
              <a:gd name="connsiteX6" fmla="*/ 8708736 w 8708736"/>
              <a:gd name="connsiteY6" fmla="*/ 9237 h 6862912"/>
              <a:gd name="connsiteX0" fmla="*/ 8708736 w 8708736"/>
              <a:gd name="connsiteY0" fmla="*/ 9237 h 6874702"/>
              <a:gd name="connsiteX1" fmla="*/ 8690874 w 8708736"/>
              <a:gd name="connsiteY1" fmla="*/ 6874702 h 6874702"/>
              <a:gd name="connsiteX2" fmla="*/ 6576291 w 8708736"/>
              <a:gd name="connsiteY2" fmla="*/ 6862618 h 6874702"/>
              <a:gd name="connsiteX3" fmla="*/ 5427518 w 8708736"/>
              <a:gd name="connsiteY3" fmla="*/ 5882987 h 6874702"/>
              <a:gd name="connsiteX4" fmla="*/ 3572741 w 8708736"/>
              <a:gd name="connsiteY4" fmla="*/ 2469573 h 6874702"/>
              <a:gd name="connsiteX5" fmla="*/ 0 w 8708736"/>
              <a:gd name="connsiteY5" fmla="*/ 0 h 6874702"/>
              <a:gd name="connsiteX6" fmla="*/ 8708736 w 8708736"/>
              <a:gd name="connsiteY6" fmla="*/ 9237 h 6874702"/>
              <a:gd name="connsiteX0" fmla="*/ 8708736 w 8708736"/>
              <a:gd name="connsiteY0" fmla="*/ 9237 h 6877028"/>
              <a:gd name="connsiteX1" fmla="*/ 8690874 w 8708736"/>
              <a:gd name="connsiteY1" fmla="*/ 6874702 h 6877028"/>
              <a:gd name="connsiteX2" fmla="*/ 6585461 w 8708736"/>
              <a:gd name="connsiteY2" fmla="*/ 6877028 h 6877028"/>
              <a:gd name="connsiteX3" fmla="*/ 5427518 w 8708736"/>
              <a:gd name="connsiteY3" fmla="*/ 5882987 h 6877028"/>
              <a:gd name="connsiteX4" fmla="*/ 3572741 w 8708736"/>
              <a:gd name="connsiteY4" fmla="*/ 2469573 h 6877028"/>
              <a:gd name="connsiteX5" fmla="*/ 0 w 8708736"/>
              <a:gd name="connsiteY5" fmla="*/ 0 h 6877028"/>
              <a:gd name="connsiteX6" fmla="*/ 8708736 w 8708736"/>
              <a:gd name="connsiteY6" fmla="*/ 9237 h 6877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08736" h="6877028">
                <a:moveTo>
                  <a:pt x="8708736" y="9237"/>
                </a:moveTo>
                <a:cubicBezTo>
                  <a:pt x="8700269" y="2295814"/>
                  <a:pt x="8699341" y="4588125"/>
                  <a:pt x="8690874" y="6874702"/>
                </a:cubicBezTo>
                <a:lnTo>
                  <a:pt x="6585461" y="6877028"/>
                </a:lnTo>
                <a:lnTo>
                  <a:pt x="5427518" y="5882987"/>
                </a:lnTo>
                <a:cubicBezTo>
                  <a:pt x="6753610" y="3708305"/>
                  <a:pt x="4242377" y="2770621"/>
                  <a:pt x="3572741" y="2469573"/>
                </a:cubicBezTo>
                <a:cubicBezTo>
                  <a:pt x="2903105" y="2168525"/>
                  <a:pt x="533593" y="1597506"/>
                  <a:pt x="0" y="0"/>
                </a:cubicBezTo>
                <a:lnTo>
                  <a:pt x="8708736" y="9237"/>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Arial" pitchFamily="34" charset="0"/>
              <a:cs typeface="Arial" pitchFamily="34" charset="0"/>
            </a:endParaRPr>
          </a:p>
        </p:txBody>
      </p:sp>
      <p:sp>
        <p:nvSpPr>
          <p:cNvPr id="9" name="Titre 1"/>
          <p:cNvSpPr>
            <a:spLocks noGrp="1"/>
          </p:cNvSpPr>
          <p:nvPr>
            <p:ph type="title" hasCustomPrompt="1"/>
            <p:custDataLst>
              <p:tags r:id="rId1"/>
            </p:custDataLst>
          </p:nvPr>
        </p:nvSpPr>
        <p:spPr>
          <a:xfrm>
            <a:off x="5613400" y="572850"/>
            <a:ext cx="6121400" cy="1199092"/>
          </a:xfrm>
          <a:prstGeom prst="rect">
            <a:avLst/>
          </a:prstGeom>
        </p:spPr>
        <p:txBody>
          <a:bodyPr vert="horz" lIns="0" tIns="33059" rIns="0" bIns="33059" rtlCol="0" anchor="ctr" anchorCtr="0">
            <a:noAutofit/>
          </a:bodyPr>
          <a:lstStyle>
            <a:lvl1pPr algn="r" defTabSz="1219092" rtl="0" eaLnBrk="1" latinLnBrk="0" hangingPunct="1">
              <a:spcBef>
                <a:spcPct val="0"/>
              </a:spcBef>
              <a:buNone/>
              <a:defRPr lang="en-US" sz="3600" b="0" kern="1200" cap="none" baseline="0" dirty="0" smtClean="0">
                <a:solidFill>
                  <a:srgbClr val="12ABDB"/>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noProof="0" dirty="0"/>
              <a:t>Click to edit Master </a:t>
            </a:r>
            <a:br>
              <a:rPr lang="en-US" noProof="0" dirty="0"/>
            </a:br>
            <a:r>
              <a:rPr lang="en-US" noProof="0" dirty="0"/>
              <a:t>text style</a:t>
            </a:r>
          </a:p>
        </p:txBody>
      </p:sp>
      <p:sp>
        <p:nvSpPr>
          <p:cNvPr id="10" name="Text Placeholder 5"/>
          <p:cNvSpPr>
            <a:spLocks noGrp="1"/>
          </p:cNvSpPr>
          <p:nvPr>
            <p:ph type="body" sz="quarter" idx="10"/>
          </p:nvPr>
        </p:nvSpPr>
        <p:spPr>
          <a:xfrm>
            <a:off x="5613400" y="1878010"/>
            <a:ext cx="6121400" cy="410369"/>
          </a:xfrm>
        </p:spPr>
        <p:txBody>
          <a:bodyPr lIns="0" rIns="0"/>
          <a:lstStyle>
            <a:lvl1pPr marL="0" indent="0" algn="r">
              <a:buNone/>
              <a:defRPr sz="20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a:buNone/>
              <a:defRPr/>
            </a:lvl2pPr>
            <a:lvl3pPr>
              <a:buNone/>
              <a:defRPr/>
            </a:lvl3pPr>
            <a:lvl4pPr>
              <a:buNone/>
              <a:defRPr/>
            </a:lvl4pPr>
            <a:lvl5pPr>
              <a:buNone/>
              <a:defRPr/>
            </a:lvl5pPr>
          </a:lstStyle>
          <a:p>
            <a:pPr lvl="0"/>
            <a:r>
              <a:rPr lang="en-US" dirty="0"/>
              <a:t>Click to edit Master text styles</a:t>
            </a:r>
          </a:p>
        </p:txBody>
      </p:sp>
      <p:pic>
        <p:nvPicPr>
          <p:cNvPr id="12"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11041504" y="5852232"/>
            <a:ext cx="565808" cy="612832"/>
          </a:xfrm>
          <a:prstGeom prst="rect">
            <a:avLst/>
          </a:prstGeom>
        </p:spPr>
      </p:pic>
      <p:pic>
        <p:nvPicPr>
          <p:cNvPr id="7" name="Picture 6">
            <a:extLst>
              <a:ext uri="{FF2B5EF4-FFF2-40B4-BE49-F238E27FC236}">
                <a16:creationId xmlns:a16="http://schemas.microsoft.com/office/drawing/2014/main" id="{22241706-5CCC-45AD-958F-6A140B2D6E62}"/>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flipH="1">
            <a:off x="4747259" y="1765731"/>
            <a:ext cx="6873240" cy="4584450"/>
          </a:xfrm>
          <a:prstGeom prst="rect">
            <a:avLst/>
          </a:prstGeom>
        </p:spPr>
      </p:pic>
    </p:spTree>
    <p:extLst>
      <p:ext uri="{BB962C8B-B14F-4D97-AF65-F5344CB8AC3E}">
        <p14:creationId xmlns:p14="http://schemas.microsoft.com/office/powerpoint/2010/main" val="335036191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2" name="Rectangle 1"/>
          <p:cNvSpPr/>
          <p:nvPr userDrawn="1"/>
        </p:nvSpPr>
        <p:spPr>
          <a:xfrm>
            <a:off x="0" y="6217920"/>
            <a:ext cx="5893701" cy="64008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grpSp>
        <p:nvGrpSpPr>
          <p:cNvPr id="14" name="Group 13"/>
          <p:cNvGrpSpPr/>
          <p:nvPr/>
        </p:nvGrpSpPr>
        <p:grpSpPr>
          <a:xfrm>
            <a:off x="5149756" y="2450"/>
            <a:ext cx="7060713" cy="6860165"/>
            <a:chOff x="2088634" y="1836"/>
            <a:chExt cx="7057105" cy="6856659"/>
          </a:xfrm>
        </p:grpSpPr>
        <p:sp>
          <p:nvSpPr>
            <p:cNvPr id="15" name="Freeform 14"/>
            <p:cNvSpPr/>
            <p:nvPr userDrawn="1"/>
          </p:nvSpPr>
          <p:spPr>
            <a:xfrm rot="10800000" flipV="1">
              <a:off x="2765729" y="1836"/>
              <a:ext cx="6377472" cy="4012978"/>
            </a:xfrm>
            <a:custGeom>
              <a:avLst/>
              <a:gdLst>
                <a:gd name="connsiteX0" fmla="*/ 3573556 w 3573556"/>
                <a:gd name="connsiteY0" fmla="*/ 1801906 h 2844053"/>
                <a:gd name="connsiteX1" fmla="*/ 0 w 3573556"/>
                <a:gd name="connsiteY1" fmla="*/ 0 h 2844053"/>
                <a:gd name="connsiteX2" fmla="*/ 6724 w 3573556"/>
                <a:gd name="connsiteY2" fmla="*/ 2844053 h 2844053"/>
                <a:gd name="connsiteX3" fmla="*/ 3573556 w 3573556"/>
                <a:gd name="connsiteY3" fmla="*/ 1801906 h 2844053"/>
                <a:gd name="connsiteX0" fmla="*/ 3603812 w 3603812"/>
                <a:gd name="connsiteY0" fmla="*/ 1725470 h 2844053"/>
                <a:gd name="connsiteX1" fmla="*/ 0 w 3603812"/>
                <a:gd name="connsiteY1" fmla="*/ 0 h 2844053"/>
                <a:gd name="connsiteX2" fmla="*/ 6724 w 3603812"/>
                <a:gd name="connsiteY2" fmla="*/ 2844053 h 2844053"/>
                <a:gd name="connsiteX3" fmla="*/ 3603812 w 3603812"/>
                <a:gd name="connsiteY3" fmla="*/ 1725470 h 2844053"/>
                <a:gd name="connsiteX0" fmla="*/ 3603812 w 3603812"/>
                <a:gd name="connsiteY0" fmla="*/ 1725470 h 2844053"/>
                <a:gd name="connsiteX1" fmla="*/ 0 w 3603812"/>
                <a:gd name="connsiteY1" fmla="*/ 0 h 2844053"/>
                <a:gd name="connsiteX2" fmla="*/ 6724 w 3603812"/>
                <a:gd name="connsiteY2" fmla="*/ 2844053 h 2844053"/>
                <a:gd name="connsiteX3" fmla="*/ 3603812 w 3603812"/>
                <a:gd name="connsiteY3" fmla="*/ 1725470 h 2844053"/>
                <a:gd name="connsiteX0" fmla="*/ 3603812 w 3603812"/>
                <a:gd name="connsiteY0" fmla="*/ 1719100 h 2837683"/>
                <a:gd name="connsiteX1" fmla="*/ 0 w 3603812"/>
                <a:gd name="connsiteY1" fmla="*/ 0 h 2837683"/>
                <a:gd name="connsiteX2" fmla="*/ 6724 w 3603812"/>
                <a:gd name="connsiteY2" fmla="*/ 2837683 h 2837683"/>
                <a:gd name="connsiteX3" fmla="*/ 3603812 w 3603812"/>
                <a:gd name="connsiteY3" fmla="*/ 1719100 h 2837683"/>
                <a:gd name="connsiteX0" fmla="*/ 3603812 w 3603812"/>
                <a:gd name="connsiteY0" fmla="*/ 1719100 h 2837683"/>
                <a:gd name="connsiteX1" fmla="*/ 0 w 3603812"/>
                <a:gd name="connsiteY1" fmla="*/ 0 h 2837683"/>
                <a:gd name="connsiteX2" fmla="*/ 6724 w 3603812"/>
                <a:gd name="connsiteY2" fmla="*/ 2837683 h 2837683"/>
                <a:gd name="connsiteX3" fmla="*/ 3603812 w 3603812"/>
                <a:gd name="connsiteY3" fmla="*/ 1719100 h 2837683"/>
                <a:gd name="connsiteX0" fmla="*/ 3659796 w 3659796"/>
                <a:gd name="connsiteY0" fmla="*/ 1783924 h 2837683"/>
                <a:gd name="connsiteX1" fmla="*/ 0 w 3659796"/>
                <a:gd name="connsiteY1" fmla="*/ 0 h 2837683"/>
                <a:gd name="connsiteX2" fmla="*/ 6724 w 3659796"/>
                <a:gd name="connsiteY2" fmla="*/ 2837683 h 2837683"/>
                <a:gd name="connsiteX3" fmla="*/ 3659796 w 3659796"/>
                <a:gd name="connsiteY3" fmla="*/ 1783924 h 2837683"/>
                <a:gd name="connsiteX0" fmla="*/ 3659796 w 3659796"/>
                <a:gd name="connsiteY0" fmla="*/ 1783924 h 2835771"/>
                <a:gd name="connsiteX1" fmla="*/ 0 w 3659796"/>
                <a:gd name="connsiteY1" fmla="*/ 0 h 2835771"/>
                <a:gd name="connsiteX2" fmla="*/ 3698 w 3659796"/>
                <a:gd name="connsiteY2" fmla="*/ 2835771 h 2835771"/>
                <a:gd name="connsiteX3" fmla="*/ 3659796 w 3659796"/>
                <a:gd name="connsiteY3" fmla="*/ 1783924 h 2835771"/>
                <a:gd name="connsiteX0" fmla="*/ 3659796 w 3687181"/>
                <a:gd name="connsiteY0" fmla="*/ 1886116 h 2937963"/>
                <a:gd name="connsiteX1" fmla="*/ 1590719 w 3687181"/>
                <a:gd name="connsiteY1" fmla="*/ 744248 h 2937963"/>
                <a:gd name="connsiteX2" fmla="*/ 0 w 3687181"/>
                <a:gd name="connsiteY2" fmla="*/ 102192 h 2937963"/>
                <a:gd name="connsiteX3" fmla="*/ 3698 w 3687181"/>
                <a:gd name="connsiteY3" fmla="*/ 2937963 h 2937963"/>
                <a:gd name="connsiteX4" fmla="*/ 3659796 w 3687181"/>
                <a:gd name="connsiteY4" fmla="*/ 1886116 h 2937963"/>
                <a:gd name="connsiteX0" fmla="*/ 3656139 w 3683524"/>
                <a:gd name="connsiteY0" fmla="*/ 1301371 h 2353218"/>
                <a:gd name="connsiteX1" fmla="*/ 1587062 w 3683524"/>
                <a:gd name="connsiteY1" fmla="*/ 159503 h 2353218"/>
                <a:gd name="connsiteX2" fmla="*/ 86287 w 3683524"/>
                <a:gd name="connsiteY2" fmla="*/ 373101 h 2353218"/>
                <a:gd name="connsiteX3" fmla="*/ 41 w 3683524"/>
                <a:gd name="connsiteY3" fmla="*/ 2353218 h 2353218"/>
                <a:gd name="connsiteX4" fmla="*/ 3656139 w 3683524"/>
                <a:gd name="connsiteY4" fmla="*/ 1301371 h 2353218"/>
                <a:gd name="connsiteX0" fmla="*/ 3656739 w 3684124"/>
                <a:gd name="connsiteY0" fmla="*/ 1383295 h 2435142"/>
                <a:gd name="connsiteX1" fmla="*/ 1587662 w 3684124"/>
                <a:gd name="connsiteY1" fmla="*/ 241427 h 2435142"/>
                <a:gd name="connsiteX2" fmla="*/ 690 w 3684124"/>
                <a:gd name="connsiteY2" fmla="*/ 256201 h 2435142"/>
                <a:gd name="connsiteX3" fmla="*/ 641 w 3684124"/>
                <a:gd name="connsiteY3" fmla="*/ 2435142 h 2435142"/>
                <a:gd name="connsiteX4" fmla="*/ 3656739 w 3684124"/>
                <a:gd name="connsiteY4" fmla="*/ 1383295 h 2435142"/>
                <a:gd name="connsiteX0" fmla="*/ 3656739 w 3684124"/>
                <a:gd name="connsiteY0" fmla="*/ 1269523 h 2321370"/>
                <a:gd name="connsiteX1" fmla="*/ 1587662 w 3684124"/>
                <a:gd name="connsiteY1" fmla="*/ 127655 h 2321370"/>
                <a:gd name="connsiteX2" fmla="*/ 690 w 3684124"/>
                <a:gd name="connsiteY2" fmla="*/ 142429 h 2321370"/>
                <a:gd name="connsiteX3" fmla="*/ 641 w 3684124"/>
                <a:gd name="connsiteY3" fmla="*/ 2321370 h 2321370"/>
                <a:gd name="connsiteX4" fmla="*/ 3656739 w 3684124"/>
                <a:gd name="connsiteY4" fmla="*/ 1269523 h 2321370"/>
                <a:gd name="connsiteX0" fmla="*/ 3656739 w 3684124"/>
                <a:gd name="connsiteY0" fmla="*/ 1141868 h 2193715"/>
                <a:gd name="connsiteX1" fmla="*/ 1587662 w 3684124"/>
                <a:gd name="connsiteY1" fmla="*/ 0 h 2193715"/>
                <a:gd name="connsiteX2" fmla="*/ 690 w 3684124"/>
                <a:gd name="connsiteY2" fmla="*/ 14774 h 2193715"/>
                <a:gd name="connsiteX3" fmla="*/ 641 w 3684124"/>
                <a:gd name="connsiteY3" fmla="*/ 2193715 h 2193715"/>
                <a:gd name="connsiteX4" fmla="*/ 3656739 w 3684124"/>
                <a:gd name="connsiteY4" fmla="*/ 1141868 h 2193715"/>
                <a:gd name="connsiteX0" fmla="*/ 3656739 w 3656739"/>
                <a:gd name="connsiteY0" fmla="*/ 1141868 h 2193715"/>
                <a:gd name="connsiteX1" fmla="*/ 1587662 w 3656739"/>
                <a:gd name="connsiteY1" fmla="*/ 0 h 2193715"/>
                <a:gd name="connsiteX2" fmla="*/ 690 w 3656739"/>
                <a:gd name="connsiteY2" fmla="*/ 14774 h 2193715"/>
                <a:gd name="connsiteX3" fmla="*/ 641 w 3656739"/>
                <a:gd name="connsiteY3" fmla="*/ 2193715 h 2193715"/>
                <a:gd name="connsiteX4" fmla="*/ 3656739 w 3656739"/>
                <a:gd name="connsiteY4" fmla="*/ 1141868 h 2193715"/>
                <a:gd name="connsiteX0" fmla="*/ 3656739 w 3656739"/>
                <a:gd name="connsiteY0" fmla="*/ 1127094 h 2178941"/>
                <a:gd name="connsiteX1" fmla="*/ 1600640 w 3656739"/>
                <a:gd name="connsiteY1" fmla="*/ 155 h 2178941"/>
                <a:gd name="connsiteX2" fmla="*/ 690 w 3656739"/>
                <a:gd name="connsiteY2" fmla="*/ 0 h 2178941"/>
                <a:gd name="connsiteX3" fmla="*/ 641 w 3656739"/>
                <a:gd name="connsiteY3" fmla="*/ 2178941 h 2178941"/>
                <a:gd name="connsiteX4" fmla="*/ 3656739 w 3656739"/>
                <a:gd name="connsiteY4" fmla="*/ 1127094 h 2178941"/>
                <a:gd name="connsiteX0" fmla="*/ 3656739 w 3656739"/>
                <a:gd name="connsiteY0" fmla="*/ 1129574 h 2181421"/>
                <a:gd name="connsiteX1" fmla="*/ 1600640 w 3656739"/>
                <a:gd name="connsiteY1" fmla="*/ 0 h 2181421"/>
                <a:gd name="connsiteX2" fmla="*/ 690 w 3656739"/>
                <a:gd name="connsiteY2" fmla="*/ 2480 h 2181421"/>
                <a:gd name="connsiteX3" fmla="*/ 641 w 3656739"/>
                <a:gd name="connsiteY3" fmla="*/ 2181421 h 2181421"/>
                <a:gd name="connsiteX4" fmla="*/ 3656739 w 3656739"/>
                <a:gd name="connsiteY4" fmla="*/ 1129574 h 2181421"/>
                <a:gd name="connsiteX0" fmla="*/ 3656650 w 3656650"/>
                <a:gd name="connsiteY0" fmla="*/ 1129574 h 2181421"/>
                <a:gd name="connsiteX1" fmla="*/ 1600551 w 3656650"/>
                <a:gd name="connsiteY1" fmla="*/ 0 h 2181421"/>
                <a:gd name="connsiteX2" fmla="*/ 1528 w 3656650"/>
                <a:gd name="connsiteY2" fmla="*/ 2480 h 2181421"/>
                <a:gd name="connsiteX3" fmla="*/ 552 w 3656650"/>
                <a:gd name="connsiteY3" fmla="*/ 2181421 h 2181421"/>
                <a:gd name="connsiteX4" fmla="*/ 3656650 w 3656650"/>
                <a:gd name="connsiteY4" fmla="*/ 1129574 h 2181421"/>
                <a:gd name="connsiteX0" fmla="*/ 3657167 w 3657167"/>
                <a:gd name="connsiteY0" fmla="*/ 1129574 h 2181421"/>
                <a:gd name="connsiteX1" fmla="*/ 1601068 w 3657167"/>
                <a:gd name="connsiteY1" fmla="*/ 0 h 2181421"/>
                <a:gd name="connsiteX2" fmla="*/ 2045 w 3657167"/>
                <a:gd name="connsiteY2" fmla="*/ 2480 h 2181421"/>
                <a:gd name="connsiteX3" fmla="*/ 1069 w 3657167"/>
                <a:gd name="connsiteY3" fmla="*/ 2181421 h 2181421"/>
                <a:gd name="connsiteX4" fmla="*/ 3657167 w 3657167"/>
                <a:gd name="connsiteY4" fmla="*/ 1129574 h 2181421"/>
                <a:gd name="connsiteX0" fmla="*/ 3659337 w 3659337"/>
                <a:gd name="connsiteY0" fmla="*/ 1129574 h 2181421"/>
                <a:gd name="connsiteX1" fmla="*/ 1603238 w 3659337"/>
                <a:gd name="connsiteY1" fmla="*/ 0 h 2181421"/>
                <a:gd name="connsiteX2" fmla="*/ 507 w 3659337"/>
                <a:gd name="connsiteY2" fmla="*/ 724 h 2181421"/>
                <a:gd name="connsiteX3" fmla="*/ 3239 w 3659337"/>
                <a:gd name="connsiteY3" fmla="*/ 2181421 h 2181421"/>
                <a:gd name="connsiteX4" fmla="*/ 3659337 w 3659337"/>
                <a:gd name="connsiteY4" fmla="*/ 1129574 h 2181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9337" h="2181421">
                  <a:moveTo>
                    <a:pt x="3659337" y="1129574"/>
                  </a:moveTo>
                  <a:cubicBezTo>
                    <a:pt x="2653378" y="444416"/>
                    <a:pt x="2213204" y="297321"/>
                    <a:pt x="1603238" y="0"/>
                  </a:cubicBezTo>
                  <a:lnTo>
                    <a:pt x="507" y="724"/>
                  </a:lnTo>
                  <a:cubicBezTo>
                    <a:pt x="-960" y="399868"/>
                    <a:pt x="998" y="1233403"/>
                    <a:pt x="3239" y="2181421"/>
                  </a:cubicBezTo>
                  <a:lnTo>
                    <a:pt x="3659337" y="1129574"/>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44" dirty="0"/>
            </a:p>
          </p:txBody>
        </p:sp>
        <p:sp>
          <p:nvSpPr>
            <p:cNvPr id="16" name="Freeform 15"/>
            <p:cNvSpPr/>
            <p:nvPr userDrawn="1"/>
          </p:nvSpPr>
          <p:spPr>
            <a:xfrm rot="10800000" flipV="1">
              <a:off x="2088634" y="1741246"/>
              <a:ext cx="7057105" cy="5117249"/>
            </a:xfrm>
            <a:custGeom>
              <a:avLst/>
              <a:gdLst>
                <a:gd name="connsiteX0" fmla="*/ 3560164 w 3560164"/>
                <a:gd name="connsiteY0" fmla="*/ 2885606 h 2885606"/>
                <a:gd name="connsiteX1" fmla="*/ 0 w 3560164"/>
                <a:gd name="connsiteY1" fmla="*/ 2848131 h 2885606"/>
                <a:gd name="connsiteX2" fmla="*/ 14990 w 3560164"/>
                <a:gd name="connsiteY2" fmla="*/ 517160 h 2885606"/>
                <a:gd name="connsiteX3" fmla="*/ 314793 w 3560164"/>
                <a:gd name="connsiteY3" fmla="*/ 929390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378666 w 3560164"/>
                <a:gd name="connsiteY3" fmla="*/ 1531146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3168208 h 3168208"/>
                <a:gd name="connsiteX1" fmla="*/ 0 w 3560164"/>
                <a:gd name="connsiteY1" fmla="*/ 3130733 h 3168208"/>
                <a:gd name="connsiteX2" fmla="*/ 14990 w 3560164"/>
                <a:gd name="connsiteY2" fmla="*/ 799762 h 3168208"/>
                <a:gd name="connsiteX3" fmla="*/ 297984 w 3560164"/>
                <a:gd name="connsiteY3" fmla="*/ 1201906 h 3168208"/>
                <a:gd name="connsiteX4" fmla="*/ 3515193 w 3560164"/>
                <a:gd name="connsiteY4" fmla="*/ 282602 h 3168208"/>
                <a:gd name="connsiteX5" fmla="*/ 3560164 w 3560164"/>
                <a:gd name="connsiteY5" fmla="*/ 3168208 h 3168208"/>
                <a:gd name="connsiteX0" fmla="*/ 3560164 w 3995016"/>
                <a:gd name="connsiteY0" fmla="*/ 3066756 h 3066756"/>
                <a:gd name="connsiteX1" fmla="*/ 0 w 3995016"/>
                <a:gd name="connsiteY1" fmla="*/ 3029281 h 3066756"/>
                <a:gd name="connsiteX2" fmla="*/ 14990 w 3995016"/>
                <a:gd name="connsiteY2" fmla="*/ 698310 h 3066756"/>
                <a:gd name="connsiteX3" fmla="*/ 297984 w 3995016"/>
                <a:gd name="connsiteY3" fmla="*/ 1100454 h 3066756"/>
                <a:gd name="connsiteX4" fmla="*/ 3515193 w 3995016"/>
                <a:gd name="connsiteY4" fmla="*/ 181150 h 3066756"/>
                <a:gd name="connsiteX5" fmla="*/ 3560164 w 3995016"/>
                <a:gd name="connsiteY5" fmla="*/ 3066756 h 3066756"/>
                <a:gd name="connsiteX0" fmla="*/ 3560164 w 4081667"/>
                <a:gd name="connsiteY0" fmla="*/ 3066756 h 3066756"/>
                <a:gd name="connsiteX1" fmla="*/ 0 w 4081667"/>
                <a:gd name="connsiteY1" fmla="*/ 3029281 h 3066756"/>
                <a:gd name="connsiteX2" fmla="*/ 14990 w 4081667"/>
                <a:gd name="connsiteY2" fmla="*/ 698310 h 3066756"/>
                <a:gd name="connsiteX3" fmla="*/ 297984 w 4081667"/>
                <a:gd name="connsiteY3" fmla="*/ 1100454 h 3066756"/>
                <a:gd name="connsiteX4" fmla="*/ 3515193 w 4081667"/>
                <a:gd name="connsiteY4" fmla="*/ 181150 h 3066756"/>
                <a:gd name="connsiteX5" fmla="*/ 3560164 w 4081667"/>
                <a:gd name="connsiteY5" fmla="*/ 3066756 h 3066756"/>
                <a:gd name="connsiteX0" fmla="*/ 3560164 w 3972124"/>
                <a:gd name="connsiteY0" fmla="*/ 2986772 h 2986772"/>
                <a:gd name="connsiteX1" fmla="*/ 0 w 3972124"/>
                <a:gd name="connsiteY1" fmla="*/ 2949297 h 2986772"/>
                <a:gd name="connsiteX2" fmla="*/ 14990 w 3972124"/>
                <a:gd name="connsiteY2" fmla="*/ 618326 h 2986772"/>
                <a:gd name="connsiteX3" fmla="*/ 297984 w 3972124"/>
                <a:gd name="connsiteY3" fmla="*/ 1020470 h 2986772"/>
                <a:gd name="connsiteX4" fmla="*/ 3515193 w 3972124"/>
                <a:gd name="connsiteY4" fmla="*/ 101166 h 2986772"/>
                <a:gd name="connsiteX5" fmla="*/ 3560164 w 3972124"/>
                <a:gd name="connsiteY5" fmla="*/ 2986772 h 2986772"/>
                <a:gd name="connsiteX0" fmla="*/ 3560164 w 3851466"/>
                <a:gd name="connsiteY0" fmla="*/ 2932294 h 2932294"/>
                <a:gd name="connsiteX1" fmla="*/ 0 w 3851466"/>
                <a:gd name="connsiteY1" fmla="*/ 2894819 h 2932294"/>
                <a:gd name="connsiteX2" fmla="*/ 14990 w 3851466"/>
                <a:gd name="connsiteY2" fmla="*/ 563848 h 2932294"/>
                <a:gd name="connsiteX3" fmla="*/ 297984 w 3851466"/>
                <a:gd name="connsiteY3" fmla="*/ 965992 h 2932294"/>
                <a:gd name="connsiteX4" fmla="*/ 3515193 w 3851466"/>
                <a:gd name="connsiteY4" fmla="*/ 46688 h 2932294"/>
                <a:gd name="connsiteX5" fmla="*/ 3560164 w 3851466"/>
                <a:gd name="connsiteY5" fmla="*/ 2932294 h 2932294"/>
                <a:gd name="connsiteX0" fmla="*/ 3560164 w 3851466"/>
                <a:gd name="connsiteY0" fmla="*/ 2923744 h 2923744"/>
                <a:gd name="connsiteX1" fmla="*/ 0 w 3851466"/>
                <a:gd name="connsiteY1" fmla="*/ 2886269 h 2923744"/>
                <a:gd name="connsiteX2" fmla="*/ 14990 w 3851466"/>
                <a:gd name="connsiteY2" fmla="*/ 555298 h 2923744"/>
                <a:gd name="connsiteX3" fmla="*/ 297984 w 3851466"/>
                <a:gd name="connsiteY3" fmla="*/ 957442 h 2923744"/>
                <a:gd name="connsiteX4" fmla="*/ 3515193 w 3851466"/>
                <a:gd name="connsiteY4" fmla="*/ 38138 h 2923744"/>
                <a:gd name="connsiteX5" fmla="*/ 3560164 w 3851466"/>
                <a:gd name="connsiteY5" fmla="*/ 2923744 h 2923744"/>
                <a:gd name="connsiteX0" fmla="*/ 3560164 w 3868339"/>
                <a:gd name="connsiteY0" fmla="*/ 2887665 h 2887665"/>
                <a:gd name="connsiteX1" fmla="*/ 0 w 3868339"/>
                <a:gd name="connsiteY1" fmla="*/ 2850190 h 2887665"/>
                <a:gd name="connsiteX2" fmla="*/ 14990 w 3868339"/>
                <a:gd name="connsiteY2" fmla="*/ 519219 h 2887665"/>
                <a:gd name="connsiteX3" fmla="*/ 297984 w 3868339"/>
                <a:gd name="connsiteY3" fmla="*/ 921363 h 2887665"/>
                <a:gd name="connsiteX4" fmla="*/ 3545449 w 3868339"/>
                <a:gd name="connsiteY4" fmla="*/ 39038 h 2887665"/>
                <a:gd name="connsiteX5" fmla="*/ 3560164 w 3868339"/>
                <a:gd name="connsiteY5" fmla="*/ 2887665 h 2887665"/>
                <a:gd name="connsiteX0" fmla="*/ 3560164 w 4050446"/>
                <a:gd name="connsiteY0" fmla="*/ 2944210 h 2944210"/>
                <a:gd name="connsiteX1" fmla="*/ 0 w 4050446"/>
                <a:gd name="connsiteY1" fmla="*/ 2906735 h 2944210"/>
                <a:gd name="connsiteX2" fmla="*/ 14990 w 4050446"/>
                <a:gd name="connsiteY2" fmla="*/ 575764 h 2944210"/>
                <a:gd name="connsiteX3" fmla="*/ 297984 w 4050446"/>
                <a:gd name="connsiteY3" fmla="*/ 977908 h 2944210"/>
                <a:gd name="connsiteX4" fmla="*/ 3545449 w 4050446"/>
                <a:gd name="connsiteY4" fmla="*/ 95583 h 2944210"/>
                <a:gd name="connsiteX5" fmla="*/ 3560164 w 4050446"/>
                <a:gd name="connsiteY5" fmla="*/ 2944210 h 2944210"/>
                <a:gd name="connsiteX0" fmla="*/ 3560164 w 3989640"/>
                <a:gd name="connsiteY0" fmla="*/ 2924406 h 2924406"/>
                <a:gd name="connsiteX1" fmla="*/ 0 w 3989640"/>
                <a:gd name="connsiteY1" fmla="*/ 2886931 h 2924406"/>
                <a:gd name="connsiteX2" fmla="*/ 14990 w 3989640"/>
                <a:gd name="connsiteY2" fmla="*/ 555960 h 2924406"/>
                <a:gd name="connsiteX3" fmla="*/ 297984 w 3989640"/>
                <a:gd name="connsiteY3" fmla="*/ 958104 h 2924406"/>
                <a:gd name="connsiteX4" fmla="*/ 3545449 w 3989640"/>
                <a:gd name="connsiteY4" fmla="*/ 75779 h 2924406"/>
                <a:gd name="connsiteX5" fmla="*/ 3560164 w 3989640"/>
                <a:gd name="connsiteY5" fmla="*/ 2924406 h 2924406"/>
                <a:gd name="connsiteX0" fmla="*/ 3560164 w 4014175"/>
                <a:gd name="connsiteY0" fmla="*/ 2948316 h 2948316"/>
                <a:gd name="connsiteX1" fmla="*/ 0 w 4014175"/>
                <a:gd name="connsiteY1" fmla="*/ 2910841 h 2948316"/>
                <a:gd name="connsiteX2" fmla="*/ 14990 w 4014175"/>
                <a:gd name="connsiteY2" fmla="*/ 579870 h 2948316"/>
                <a:gd name="connsiteX3" fmla="*/ 297984 w 4014175"/>
                <a:gd name="connsiteY3" fmla="*/ 982014 h 2948316"/>
                <a:gd name="connsiteX4" fmla="*/ 3545449 w 4014175"/>
                <a:gd name="connsiteY4" fmla="*/ 99689 h 2948316"/>
                <a:gd name="connsiteX5" fmla="*/ 3560164 w 4014175"/>
                <a:gd name="connsiteY5" fmla="*/ 2948316 h 2948316"/>
                <a:gd name="connsiteX0" fmla="*/ 3560164 w 4014175"/>
                <a:gd name="connsiteY0" fmla="*/ 2946856 h 2946856"/>
                <a:gd name="connsiteX1" fmla="*/ 0 w 4014175"/>
                <a:gd name="connsiteY1" fmla="*/ 2909381 h 2946856"/>
                <a:gd name="connsiteX2" fmla="*/ 14990 w 4014175"/>
                <a:gd name="connsiteY2" fmla="*/ 578410 h 2946856"/>
                <a:gd name="connsiteX3" fmla="*/ 297984 w 4014175"/>
                <a:gd name="connsiteY3" fmla="*/ 980554 h 2946856"/>
                <a:gd name="connsiteX4" fmla="*/ 3545449 w 4014175"/>
                <a:gd name="connsiteY4" fmla="*/ 98229 h 2946856"/>
                <a:gd name="connsiteX5" fmla="*/ 3560164 w 4014175"/>
                <a:gd name="connsiteY5" fmla="*/ 2946856 h 2946856"/>
                <a:gd name="connsiteX0" fmla="*/ 3583696 w 3892754"/>
                <a:gd name="connsiteY0" fmla="*/ 2889822 h 2889822"/>
                <a:gd name="connsiteX1" fmla="*/ 0 w 3892754"/>
                <a:gd name="connsiteY1" fmla="*/ 2859071 h 2889822"/>
                <a:gd name="connsiteX2" fmla="*/ 14990 w 3892754"/>
                <a:gd name="connsiteY2" fmla="*/ 528100 h 2889822"/>
                <a:gd name="connsiteX3" fmla="*/ 297984 w 3892754"/>
                <a:gd name="connsiteY3" fmla="*/ 930244 h 2889822"/>
                <a:gd name="connsiteX4" fmla="*/ 3545449 w 3892754"/>
                <a:gd name="connsiteY4" fmla="*/ 47919 h 2889822"/>
                <a:gd name="connsiteX5" fmla="*/ 3583696 w 3892754"/>
                <a:gd name="connsiteY5" fmla="*/ 2889822 h 2889822"/>
                <a:gd name="connsiteX0" fmla="*/ 3583696 w 4065589"/>
                <a:gd name="connsiteY0" fmla="*/ 2889822 h 2889822"/>
                <a:gd name="connsiteX1" fmla="*/ 0 w 4065589"/>
                <a:gd name="connsiteY1" fmla="*/ 2859071 h 2889822"/>
                <a:gd name="connsiteX2" fmla="*/ 14990 w 4065589"/>
                <a:gd name="connsiteY2" fmla="*/ 528100 h 2889822"/>
                <a:gd name="connsiteX3" fmla="*/ 297984 w 4065589"/>
                <a:gd name="connsiteY3" fmla="*/ 930244 h 2889822"/>
                <a:gd name="connsiteX4" fmla="*/ 3545449 w 4065589"/>
                <a:gd name="connsiteY4" fmla="*/ 47919 h 2889822"/>
                <a:gd name="connsiteX5" fmla="*/ 3583696 w 4065589"/>
                <a:gd name="connsiteY5" fmla="*/ 2889822 h 2889822"/>
                <a:gd name="connsiteX0" fmla="*/ 3583696 w 4193107"/>
                <a:gd name="connsiteY0" fmla="*/ 2939141 h 2939141"/>
                <a:gd name="connsiteX1" fmla="*/ 0 w 4193107"/>
                <a:gd name="connsiteY1" fmla="*/ 2908390 h 2939141"/>
                <a:gd name="connsiteX2" fmla="*/ 14990 w 4193107"/>
                <a:gd name="connsiteY2" fmla="*/ 577419 h 2939141"/>
                <a:gd name="connsiteX3" fmla="*/ 297984 w 4193107"/>
                <a:gd name="connsiteY3" fmla="*/ 979563 h 2939141"/>
                <a:gd name="connsiteX4" fmla="*/ 3545449 w 4193107"/>
                <a:gd name="connsiteY4" fmla="*/ 97238 h 2939141"/>
                <a:gd name="connsiteX5" fmla="*/ 3583696 w 4193107"/>
                <a:gd name="connsiteY5" fmla="*/ 2939141 h 2939141"/>
                <a:gd name="connsiteX0" fmla="*/ 3583696 w 4066579"/>
                <a:gd name="connsiteY0" fmla="*/ 2939141 h 2939141"/>
                <a:gd name="connsiteX1" fmla="*/ 0 w 4066579"/>
                <a:gd name="connsiteY1" fmla="*/ 2908390 h 2939141"/>
                <a:gd name="connsiteX2" fmla="*/ 14990 w 4066579"/>
                <a:gd name="connsiteY2" fmla="*/ 577419 h 2939141"/>
                <a:gd name="connsiteX3" fmla="*/ 297984 w 4066579"/>
                <a:gd name="connsiteY3" fmla="*/ 979563 h 2939141"/>
                <a:gd name="connsiteX4" fmla="*/ 3545449 w 4066579"/>
                <a:gd name="connsiteY4" fmla="*/ 97238 h 2939141"/>
                <a:gd name="connsiteX5" fmla="*/ 3583696 w 4066579"/>
                <a:gd name="connsiteY5" fmla="*/ 2939141 h 2939141"/>
                <a:gd name="connsiteX0" fmla="*/ 3583696 w 4058392"/>
                <a:gd name="connsiteY0" fmla="*/ 2935948 h 2935948"/>
                <a:gd name="connsiteX1" fmla="*/ 0 w 4058392"/>
                <a:gd name="connsiteY1" fmla="*/ 2905197 h 2935948"/>
                <a:gd name="connsiteX2" fmla="*/ 14990 w 4058392"/>
                <a:gd name="connsiteY2" fmla="*/ 574226 h 2935948"/>
                <a:gd name="connsiteX3" fmla="*/ 297984 w 4058392"/>
                <a:gd name="connsiteY3" fmla="*/ 976370 h 2935948"/>
                <a:gd name="connsiteX4" fmla="*/ 3532002 w 4058392"/>
                <a:gd name="connsiteY4" fmla="*/ 97407 h 2935948"/>
                <a:gd name="connsiteX5" fmla="*/ 3583696 w 4058392"/>
                <a:gd name="connsiteY5" fmla="*/ 2935948 h 2935948"/>
                <a:gd name="connsiteX0" fmla="*/ 3578226 w 4052922"/>
                <a:gd name="connsiteY0" fmla="*/ 2935948 h 2935948"/>
                <a:gd name="connsiteX1" fmla="*/ 0 w 4052922"/>
                <a:gd name="connsiteY1" fmla="*/ 2927075 h 2935948"/>
                <a:gd name="connsiteX2" fmla="*/ 9520 w 4052922"/>
                <a:gd name="connsiteY2" fmla="*/ 574226 h 2935948"/>
                <a:gd name="connsiteX3" fmla="*/ 292514 w 4052922"/>
                <a:gd name="connsiteY3" fmla="*/ 976370 h 2935948"/>
                <a:gd name="connsiteX4" fmla="*/ 3526532 w 4052922"/>
                <a:gd name="connsiteY4" fmla="*/ 97407 h 2935948"/>
                <a:gd name="connsiteX5" fmla="*/ 3578226 w 4052922"/>
                <a:gd name="connsiteY5" fmla="*/ 2935948 h 2935948"/>
                <a:gd name="connsiteX0" fmla="*/ 3578226 w 4052922"/>
                <a:gd name="connsiteY0" fmla="*/ 2935948 h 2935948"/>
                <a:gd name="connsiteX1" fmla="*/ 0 w 4052922"/>
                <a:gd name="connsiteY1" fmla="*/ 2927075 h 2935948"/>
                <a:gd name="connsiteX2" fmla="*/ 9520 w 4052922"/>
                <a:gd name="connsiteY2" fmla="*/ 574226 h 2935948"/>
                <a:gd name="connsiteX3" fmla="*/ 292514 w 4052922"/>
                <a:gd name="connsiteY3" fmla="*/ 976370 h 2935948"/>
                <a:gd name="connsiteX4" fmla="*/ 3526532 w 4052922"/>
                <a:gd name="connsiteY4" fmla="*/ 97407 h 2935948"/>
                <a:gd name="connsiteX5" fmla="*/ 3578226 w 4052922"/>
                <a:gd name="connsiteY5" fmla="*/ 2935948 h 2935948"/>
                <a:gd name="connsiteX0" fmla="*/ 3571087 w 4045783"/>
                <a:gd name="connsiteY0" fmla="*/ 2935948 h 2935948"/>
                <a:gd name="connsiteX1" fmla="*/ 0 w 4045783"/>
                <a:gd name="connsiteY1" fmla="*/ 2934213 h 2935948"/>
                <a:gd name="connsiteX2" fmla="*/ 2381 w 4045783"/>
                <a:gd name="connsiteY2" fmla="*/ 574226 h 2935948"/>
                <a:gd name="connsiteX3" fmla="*/ 285375 w 4045783"/>
                <a:gd name="connsiteY3" fmla="*/ 976370 h 2935948"/>
                <a:gd name="connsiteX4" fmla="*/ 3519393 w 4045783"/>
                <a:gd name="connsiteY4" fmla="*/ 97407 h 2935948"/>
                <a:gd name="connsiteX5" fmla="*/ 3571087 w 4045783"/>
                <a:gd name="connsiteY5" fmla="*/ 2935948 h 2935948"/>
                <a:gd name="connsiteX0" fmla="*/ 3570078 w 4044774"/>
                <a:gd name="connsiteY0" fmla="*/ 2935948 h 2935948"/>
                <a:gd name="connsiteX1" fmla="*/ 2018 w 4044774"/>
                <a:gd name="connsiteY1" fmla="*/ 2931187 h 2935948"/>
                <a:gd name="connsiteX2" fmla="*/ 1372 w 4044774"/>
                <a:gd name="connsiteY2" fmla="*/ 574226 h 2935948"/>
                <a:gd name="connsiteX3" fmla="*/ 284366 w 4044774"/>
                <a:gd name="connsiteY3" fmla="*/ 976370 h 2935948"/>
                <a:gd name="connsiteX4" fmla="*/ 3518384 w 4044774"/>
                <a:gd name="connsiteY4" fmla="*/ 97407 h 2935948"/>
                <a:gd name="connsiteX5" fmla="*/ 3570078 w 4044774"/>
                <a:gd name="connsiteY5" fmla="*/ 2935948 h 2935948"/>
                <a:gd name="connsiteX0" fmla="*/ 3571087 w 4045783"/>
                <a:gd name="connsiteY0" fmla="*/ 2935948 h 2936232"/>
                <a:gd name="connsiteX1" fmla="*/ 0 w 4045783"/>
                <a:gd name="connsiteY1" fmla="*/ 2936232 h 2936232"/>
                <a:gd name="connsiteX2" fmla="*/ 2381 w 4045783"/>
                <a:gd name="connsiteY2" fmla="*/ 574226 h 2936232"/>
                <a:gd name="connsiteX3" fmla="*/ 285375 w 4045783"/>
                <a:gd name="connsiteY3" fmla="*/ 976370 h 2936232"/>
                <a:gd name="connsiteX4" fmla="*/ 3519393 w 4045783"/>
                <a:gd name="connsiteY4" fmla="*/ 97407 h 2936232"/>
                <a:gd name="connsiteX5" fmla="*/ 3571087 w 4045783"/>
                <a:gd name="connsiteY5" fmla="*/ 2935948 h 2936232"/>
                <a:gd name="connsiteX0" fmla="*/ 3571789 w 4046485"/>
                <a:gd name="connsiteY0" fmla="*/ 2935948 h 2936232"/>
                <a:gd name="connsiteX1" fmla="*/ 702 w 4046485"/>
                <a:gd name="connsiteY1" fmla="*/ 2936232 h 2936232"/>
                <a:gd name="connsiteX2" fmla="*/ 3083 w 4046485"/>
                <a:gd name="connsiteY2" fmla="*/ 574226 h 2936232"/>
                <a:gd name="connsiteX3" fmla="*/ 286077 w 4046485"/>
                <a:gd name="connsiteY3" fmla="*/ 976370 h 2936232"/>
                <a:gd name="connsiteX4" fmla="*/ 3520095 w 4046485"/>
                <a:gd name="connsiteY4" fmla="*/ 97407 h 2936232"/>
                <a:gd name="connsiteX5" fmla="*/ 3571789 w 4046485"/>
                <a:gd name="connsiteY5" fmla="*/ 2935948 h 2936232"/>
                <a:gd name="connsiteX0" fmla="*/ 3574610 w 4049306"/>
                <a:gd name="connsiteY0" fmla="*/ 2935948 h 2936232"/>
                <a:gd name="connsiteX1" fmla="*/ 3523 w 4049306"/>
                <a:gd name="connsiteY1" fmla="*/ 2936232 h 2936232"/>
                <a:gd name="connsiteX2" fmla="*/ 1868 w 4049306"/>
                <a:gd name="connsiteY2" fmla="*/ 566154 h 2936232"/>
                <a:gd name="connsiteX3" fmla="*/ 288898 w 4049306"/>
                <a:gd name="connsiteY3" fmla="*/ 976370 h 2936232"/>
                <a:gd name="connsiteX4" fmla="*/ 3522916 w 4049306"/>
                <a:gd name="connsiteY4" fmla="*/ 97407 h 2936232"/>
                <a:gd name="connsiteX5" fmla="*/ 3574610 w 4049306"/>
                <a:gd name="connsiteY5" fmla="*/ 2935948 h 293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49306" h="2936232">
                  <a:moveTo>
                    <a:pt x="3574610" y="2935948"/>
                  </a:moveTo>
                  <a:lnTo>
                    <a:pt x="3523" y="2936232"/>
                  </a:lnTo>
                  <a:cubicBezTo>
                    <a:pt x="3475" y="2780779"/>
                    <a:pt x="-3129" y="1343144"/>
                    <a:pt x="1868" y="566154"/>
                  </a:cubicBezTo>
                  <a:lnTo>
                    <a:pt x="288898" y="976370"/>
                  </a:lnTo>
                  <a:cubicBezTo>
                    <a:pt x="1178186" y="1226354"/>
                    <a:pt x="2618950" y="-407363"/>
                    <a:pt x="3522916" y="97407"/>
                  </a:cubicBezTo>
                  <a:cubicBezTo>
                    <a:pt x="4426882" y="602177"/>
                    <a:pt x="3976479" y="2347234"/>
                    <a:pt x="3574610" y="2935948"/>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44" dirty="0"/>
            </a:p>
          </p:txBody>
        </p:sp>
      </p:grpSp>
      <p:sp>
        <p:nvSpPr>
          <p:cNvPr id="17"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543984" y="3578203"/>
            <a:ext cx="4605772" cy="1159933"/>
          </a:xfrm>
        </p:spPr>
        <p:txBody>
          <a:bodyPr lIns="0" tIns="0" rIns="0" bIns="0" anchor="b">
            <a:normAutofit/>
          </a:bodyPr>
          <a:lstStyle>
            <a:lvl1pPr marL="0" indent="0" algn="l">
              <a:lnSpc>
                <a:spcPct val="100000"/>
              </a:lnSpc>
              <a:buNone/>
              <a:defRPr sz="36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defRPr sz="2400">
                <a:solidFill>
                  <a:schemeClr val="bg1"/>
                </a:solidFill>
              </a:defRPr>
            </a:lvl2pPr>
          </a:lstStyle>
          <a:p>
            <a:pPr lvl="0"/>
            <a:r>
              <a:rPr lang="en-US"/>
              <a:t>Click to insert title</a:t>
            </a:r>
            <a:endParaRPr lang="pt-PT"/>
          </a:p>
        </p:txBody>
      </p:sp>
      <p:sp>
        <p:nvSpPr>
          <p:cNvPr id="19"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543983" y="4891485"/>
            <a:ext cx="3894591" cy="1595120"/>
          </a:xfrm>
        </p:spPr>
        <p:txBody>
          <a:bodyPr lIns="0" tIns="0" rIns="0" bIns="0">
            <a:normAutofit/>
          </a:bodyPr>
          <a:lstStyle>
            <a:lvl1pPr marL="0" indent="0" algn="l">
              <a:lnSpc>
                <a:spcPct val="100000"/>
              </a:lnSpc>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defRPr sz="1600">
                <a:solidFill>
                  <a:schemeClr val="bg1"/>
                </a:solidFill>
              </a:defRPr>
            </a:lvl2pPr>
          </a:lstStyle>
          <a:p>
            <a:pPr lvl="0"/>
            <a:r>
              <a:rPr lang="en-US"/>
              <a:t>Click to insert presenter, location, and date</a:t>
            </a:r>
            <a:endParaRPr lang="pt-PT"/>
          </a:p>
        </p:txBody>
      </p:sp>
      <p:pic>
        <p:nvPicPr>
          <p:cNvPr id="20"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3984" y="539751"/>
            <a:ext cx="3087429" cy="688815"/>
          </a:xfrm>
          <a:prstGeom prst="rect">
            <a:avLst/>
          </a:prstGeom>
        </p:spPr>
      </p:pic>
      <p:graphicFrame>
        <p:nvGraphicFramePr>
          <p:cNvPr id="5" name="Object 4" hidden="1"/>
          <p:cNvGraphicFramePr>
            <a:graphicFrameLocks noChangeAspect="1"/>
          </p:cNvGraphicFramePr>
          <p:nvPr>
            <p:custDataLst>
              <p:tags r:id="rId2"/>
            </p:custDataLst>
          </p:nvPr>
        </p:nvGraphicFramePr>
        <p:xfrm>
          <a:off x="1" y="1"/>
          <a:ext cx="195384" cy="158751"/>
        </p:xfrm>
        <a:graphic>
          <a:graphicData uri="http://schemas.openxmlformats.org/presentationml/2006/ole">
            <mc:AlternateContent xmlns:mc="http://schemas.openxmlformats.org/markup-compatibility/2006">
              <mc:Choice xmlns:v="urn:schemas-microsoft-com:vml" Requires="v">
                <p:oleObj spid="_x0000_s24578"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3" name="Straight Connector 2"/>
          <p:cNvCxnSpPr/>
          <p:nvPr/>
        </p:nvCxnSpPr>
        <p:spPr>
          <a:xfrm>
            <a:off x="3839360" y="539751"/>
            <a:ext cx="0" cy="478821"/>
          </a:xfrm>
          <a:prstGeom prst="line">
            <a:avLst/>
          </a:prstGeom>
          <a:ln w="1905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pic>
        <p:nvPicPr>
          <p:cNvPr id="13" name="Picture 12" descr="Image result for new jersey resources"/>
          <p:cNvPicPr/>
          <p:nvPr/>
        </p:nvPicPr>
        <p:blipFill>
          <a:blip r:embed="rId8">
            <a:extLst>
              <a:ext uri="{28A0092B-C50C-407E-A947-70E740481C1C}">
                <a14:useLocalDpi xmlns:a14="http://schemas.microsoft.com/office/drawing/2010/main" val="0"/>
              </a:ext>
            </a:extLst>
          </a:blip>
          <a:srcRect/>
          <a:stretch>
            <a:fillRect/>
          </a:stretch>
        </p:blipFill>
        <p:spPr bwMode="auto">
          <a:xfrm>
            <a:off x="4043700" y="468730"/>
            <a:ext cx="1850001" cy="612812"/>
          </a:xfrm>
          <a:prstGeom prst="rect">
            <a:avLst/>
          </a:prstGeom>
          <a:noFill/>
          <a:ln>
            <a:noFill/>
          </a:ln>
        </p:spPr>
      </p:pic>
    </p:spTree>
    <p:extLst>
      <p:ext uri="{BB962C8B-B14F-4D97-AF65-F5344CB8AC3E}">
        <p14:creationId xmlns:p14="http://schemas.microsoft.com/office/powerpoint/2010/main" val="148205178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Only_Gre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25602"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2400"/>
            </a:lvl1pPr>
          </a:lstStyle>
          <a:p>
            <a:r>
              <a:rPr lang="en-US" noProof="0" dirty="0"/>
              <a:t>Click to edit Master title style</a:t>
            </a:r>
            <a:endParaRPr lang="en-US" dirty="0"/>
          </a:p>
        </p:txBody>
      </p:sp>
    </p:spTree>
    <p:extLst>
      <p:ext uri="{BB962C8B-B14F-4D97-AF65-F5344CB8AC3E}">
        <p14:creationId xmlns:p14="http://schemas.microsoft.com/office/powerpoint/2010/main" val="38170146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2858513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3" name="Rectangle 22"/>
          <p:cNvSpPr/>
          <p:nvPr/>
        </p:nvSpPr>
        <p:spPr>
          <a:xfrm>
            <a:off x="1" y="0"/>
            <a:ext cx="175678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schemeClr val="tx2">
                  <a:lumMod val="50000"/>
                </a:schemeClr>
              </a:solidFill>
            </a:endParaRPr>
          </a:p>
        </p:txBody>
      </p:sp>
      <p:graphicFrame>
        <p:nvGraphicFramePr>
          <p:cNvPr id="2" name="Object 1"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26626"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p:cNvSpPr/>
          <p:nvPr/>
        </p:nvSpPr>
        <p:spPr>
          <a:xfrm>
            <a:off x="6657879" y="2524335"/>
            <a:ext cx="5213580" cy="19532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r>
              <a:rPr lang="en-US" sz="120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7 global revenues of EUR 12.8 billion (about $14.4 billion USD at 2017 average rate).</a:t>
            </a:r>
          </a:p>
        </p:txBody>
      </p:sp>
      <p:sp>
        <p:nvSpPr>
          <p:cNvPr id="9" name="Rectangle 8"/>
          <p:cNvSpPr/>
          <p:nvPr/>
        </p:nvSpPr>
        <p:spPr>
          <a:xfrm>
            <a:off x="6657879" y="2018364"/>
            <a:ext cx="2905099" cy="2349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600" b="1" dirty="0">
                <a:solidFill>
                  <a:schemeClr val="tx2"/>
                </a:solidFill>
                <a:latin typeface="Verdana" panose="020B0604030504040204" pitchFamily="34" charset="0"/>
                <a:ea typeface="Verdana" panose="020B0604030504040204" pitchFamily="34" charset="0"/>
                <a:cs typeface="Verdana" panose="020B0604030504040204" pitchFamily="34" charset="0"/>
              </a:rPr>
              <a:t>About Capgemini</a:t>
            </a:r>
          </a:p>
        </p:txBody>
      </p:sp>
      <p:sp>
        <p:nvSpPr>
          <p:cNvPr id="10" name="Rectangle 9"/>
          <p:cNvSpPr/>
          <p:nvPr/>
        </p:nvSpPr>
        <p:spPr>
          <a:xfrm>
            <a:off x="6657880" y="4973899"/>
            <a:ext cx="3468945" cy="5433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rPr>
              <a:t>Learn more about us at</a:t>
            </a:r>
          </a:p>
          <a:p>
            <a:pPr algn="just">
              <a:lnSpc>
                <a:spcPts val="1200"/>
              </a:lnSpc>
            </a:pPr>
            <a:r>
              <a:rPr lang="en-US" sz="1867" dirty="0">
                <a:solidFill>
                  <a:schemeClr val="accent2"/>
                </a:solidFill>
                <a:latin typeface="Verdana" panose="020B0604030504040204" pitchFamily="34" charset="0"/>
                <a:ea typeface="Verdana" panose="020B0604030504040204" pitchFamily="34" charset="0"/>
                <a:cs typeface="Verdana" panose="020B0604030504040204" pitchFamily="34" charset="0"/>
              </a:rPr>
              <a:t>www.capgemini.com</a:t>
            </a:r>
          </a:p>
        </p:txBody>
      </p:sp>
      <p:sp>
        <p:nvSpPr>
          <p:cNvPr id="17" name="Rectangle 16"/>
          <p:cNvSpPr/>
          <p:nvPr/>
        </p:nvSpPr>
        <p:spPr>
          <a:xfrm>
            <a:off x="6657879" y="6042841"/>
            <a:ext cx="5213580" cy="574260"/>
          </a:xfrm>
          <a:prstGeom prst="rect">
            <a:avLst/>
          </a:prstGeom>
        </p:spPr>
        <p:txBody>
          <a:bodyPr wrap="square" lIns="0" tIns="0" rIns="0" bIns="0" anchor="b" anchorCtr="0">
            <a:spAutoFit/>
          </a:bodyPr>
          <a:lstStyle/>
          <a:p>
            <a:pPr>
              <a:spcAft>
                <a:spcPts val="600"/>
              </a:spcAft>
            </a:pPr>
            <a:r>
              <a:rPr lang="en-US" sz="900" dirty="0">
                <a:latin typeface="Verdana" panose="020B0604030504040204" pitchFamily="34" charset="0"/>
                <a:ea typeface="Verdana" panose="020B0604030504040204" pitchFamily="34" charset="0"/>
                <a:cs typeface="Verdana" panose="020B0604030504040204" pitchFamily="34" charset="0"/>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19" name="Rectangle 18">
            <a:hlinkClick r:id="rId6"/>
          </p:cNvPr>
          <p:cNvSpPr/>
          <p:nvPr/>
        </p:nvSpPr>
        <p:spPr>
          <a:xfrm>
            <a:off x="11956319" y="5079045"/>
            <a:ext cx="922387" cy="166328"/>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GB" sz="2400" dirty="0"/>
          </a:p>
        </p:txBody>
      </p:sp>
      <p:sp>
        <p:nvSpPr>
          <p:cNvPr id="4" name="Freeform 5"/>
          <p:cNvSpPr>
            <a:spLocks/>
          </p:cNvSpPr>
          <p:nvPr/>
        </p:nvSpPr>
        <p:spPr bwMode="auto">
          <a:xfrm>
            <a:off x="1468502" y="-14553"/>
            <a:ext cx="4422889" cy="6872553"/>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 name="connsiteX0" fmla="*/ 2507 w 10000"/>
              <a:gd name="connsiteY0" fmla="*/ 0 h 10000"/>
              <a:gd name="connsiteX1" fmla="*/ 0 w 10000"/>
              <a:gd name="connsiteY1" fmla="*/ 0 h 10000"/>
              <a:gd name="connsiteX2" fmla="*/ 0 w 10000"/>
              <a:gd name="connsiteY2" fmla="*/ 10000 h 10000"/>
              <a:gd name="connsiteX3" fmla="*/ 10000 w 10000"/>
              <a:gd name="connsiteY3" fmla="*/ 10000 h 10000"/>
              <a:gd name="connsiteX4" fmla="*/ 525 w 10000"/>
              <a:gd name="connsiteY4" fmla="*/ 9989 h 10000"/>
              <a:gd name="connsiteX5" fmla="*/ 6152 w 10000"/>
              <a:gd name="connsiteY5" fmla="*/ 4435 h 10000"/>
              <a:gd name="connsiteX6" fmla="*/ 2507 w 10000"/>
              <a:gd name="connsiteY6" fmla="*/ 0 h 10000"/>
              <a:gd name="connsiteX0" fmla="*/ 2507 w 6673"/>
              <a:gd name="connsiteY0" fmla="*/ 0 h 10000"/>
              <a:gd name="connsiteX1" fmla="*/ 0 w 6673"/>
              <a:gd name="connsiteY1" fmla="*/ 0 h 10000"/>
              <a:gd name="connsiteX2" fmla="*/ 0 w 6673"/>
              <a:gd name="connsiteY2" fmla="*/ 10000 h 10000"/>
              <a:gd name="connsiteX3" fmla="*/ 525 w 6673"/>
              <a:gd name="connsiteY3" fmla="*/ 9989 h 10000"/>
              <a:gd name="connsiteX4" fmla="*/ 6152 w 6673"/>
              <a:gd name="connsiteY4" fmla="*/ 4435 h 10000"/>
              <a:gd name="connsiteX5" fmla="*/ 2507 w 6673"/>
              <a:gd name="connsiteY5" fmla="*/ 0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18 w 10000"/>
              <a:gd name="connsiteY5" fmla="*/ 2310 h 10000"/>
              <a:gd name="connsiteX0" fmla="*/ 0 w 10000"/>
              <a:gd name="connsiteY0" fmla="*/ 0 h 10000"/>
              <a:gd name="connsiteX1" fmla="*/ 0 w 10000"/>
              <a:gd name="connsiteY1" fmla="*/ 10000 h 10000"/>
              <a:gd name="connsiteX2" fmla="*/ 787 w 10000"/>
              <a:gd name="connsiteY2" fmla="*/ 9989 h 10000"/>
              <a:gd name="connsiteX3" fmla="*/ 9219 w 10000"/>
              <a:gd name="connsiteY3" fmla="*/ 4435 h 10000"/>
              <a:gd name="connsiteX4" fmla="*/ 4418 w 10000"/>
              <a:gd name="connsiteY4" fmla="*/ 2310 h 10000"/>
              <a:gd name="connsiteX0" fmla="*/ 1064 w 10002"/>
              <a:gd name="connsiteY0" fmla="*/ 0 h 8342"/>
              <a:gd name="connsiteX1" fmla="*/ 2 w 10002"/>
              <a:gd name="connsiteY1" fmla="*/ 7770 h 8342"/>
              <a:gd name="connsiteX2" fmla="*/ 789 w 10002"/>
              <a:gd name="connsiteY2" fmla="*/ 7759 h 8342"/>
              <a:gd name="connsiteX3" fmla="*/ 9221 w 10002"/>
              <a:gd name="connsiteY3" fmla="*/ 2205 h 8342"/>
              <a:gd name="connsiteX4" fmla="*/ 4420 w 10002"/>
              <a:gd name="connsiteY4" fmla="*/ 80 h 8342"/>
              <a:gd name="connsiteX0" fmla="*/ 1919 w 10028"/>
              <a:gd name="connsiteY0" fmla="*/ 386 h 9869"/>
              <a:gd name="connsiteX1" fmla="*/ 30 w 10028"/>
              <a:gd name="connsiteY1" fmla="*/ 9218 h 9869"/>
              <a:gd name="connsiteX2" fmla="*/ 817 w 10028"/>
              <a:gd name="connsiteY2" fmla="*/ 9205 h 9869"/>
              <a:gd name="connsiteX3" fmla="*/ 9247 w 10028"/>
              <a:gd name="connsiteY3" fmla="*/ 2547 h 9869"/>
              <a:gd name="connsiteX4" fmla="*/ 4447 w 10028"/>
              <a:gd name="connsiteY4" fmla="*/ 0 h 9869"/>
              <a:gd name="connsiteX0" fmla="*/ 1733 w 9993"/>
              <a:gd name="connsiteY0" fmla="*/ 52 h 10024"/>
              <a:gd name="connsiteX1" fmla="*/ 23 w 9993"/>
              <a:gd name="connsiteY1" fmla="*/ 9340 h 10024"/>
              <a:gd name="connsiteX2" fmla="*/ 808 w 9993"/>
              <a:gd name="connsiteY2" fmla="*/ 9327 h 10024"/>
              <a:gd name="connsiteX3" fmla="*/ 9214 w 9993"/>
              <a:gd name="connsiteY3" fmla="*/ 2581 h 10024"/>
              <a:gd name="connsiteX4" fmla="*/ 4428 w 9993"/>
              <a:gd name="connsiteY4" fmla="*/ 0 h 10024"/>
              <a:gd name="connsiteX0" fmla="*/ 1707 w 9999"/>
              <a:gd name="connsiteY0" fmla="*/ 0 h 10005"/>
              <a:gd name="connsiteX1" fmla="*/ 22 w 9999"/>
              <a:gd name="connsiteY1" fmla="*/ 9318 h 10005"/>
              <a:gd name="connsiteX2" fmla="*/ 808 w 9999"/>
              <a:gd name="connsiteY2" fmla="*/ 9305 h 10005"/>
              <a:gd name="connsiteX3" fmla="*/ 9219 w 9999"/>
              <a:gd name="connsiteY3" fmla="*/ 2575 h 10005"/>
              <a:gd name="connsiteX4" fmla="*/ 4430 w 9999"/>
              <a:gd name="connsiteY4" fmla="*/ 0 h 10005"/>
              <a:gd name="connsiteX0" fmla="*/ 1733 w 9999"/>
              <a:gd name="connsiteY0" fmla="*/ 6 h 9999"/>
              <a:gd name="connsiteX1" fmla="*/ 22 w 9999"/>
              <a:gd name="connsiteY1" fmla="*/ 9313 h 9999"/>
              <a:gd name="connsiteX2" fmla="*/ 808 w 9999"/>
              <a:gd name="connsiteY2" fmla="*/ 9300 h 9999"/>
              <a:gd name="connsiteX3" fmla="*/ 9220 w 9999"/>
              <a:gd name="connsiteY3" fmla="*/ 2574 h 9999"/>
              <a:gd name="connsiteX4" fmla="*/ 4430 w 9999"/>
              <a:gd name="connsiteY4" fmla="*/ 0 h 9999"/>
              <a:gd name="connsiteX0" fmla="*/ 1936 w 10008"/>
              <a:gd name="connsiteY0" fmla="*/ 189 h 9986"/>
              <a:gd name="connsiteX1" fmla="*/ 30 w 10008"/>
              <a:gd name="connsiteY1" fmla="*/ 9314 h 9986"/>
              <a:gd name="connsiteX2" fmla="*/ 816 w 10008"/>
              <a:gd name="connsiteY2" fmla="*/ 9301 h 9986"/>
              <a:gd name="connsiteX3" fmla="*/ 9229 w 10008"/>
              <a:gd name="connsiteY3" fmla="*/ 2574 h 9986"/>
              <a:gd name="connsiteX4" fmla="*/ 4438 w 10008"/>
              <a:gd name="connsiteY4" fmla="*/ 0 h 9986"/>
              <a:gd name="connsiteX0" fmla="*/ 1737 w 9993"/>
              <a:gd name="connsiteY0" fmla="*/ 16 h 10013"/>
              <a:gd name="connsiteX1" fmla="*/ 23 w 9993"/>
              <a:gd name="connsiteY1" fmla="*/ 9327 h 10013"/>
              <a:gd name="connsiteX2" fmla="*/ 808 w 9993"/>
              <a:gd name="connsiteY2" fmla="*/ 9314 h 10013"/>
              <a:gd name="connsiteX3" fmla="*/ 9215 w 9993"/>
              <a:gd name="connsiteY3" fmla="*/ 2578 h 10013"/>
              <a:gd name="connsiteX4" fmla="*/ 4427 w 9993"/>
              <a:gd name="connsiteY4" fmla="*/ 0 h 10013"/>
              <a:gd name="connsiteX0" fmla="*/ 1696 w 9341"/>
              <a:gd name="connsiteY0" fmla="*/ 16 h 9780"/>
              <a:gd name="connsiteX1" fmla="*/ 493 w 9341"/>
              <a:gd name="connsiteY1" fmla="*/ 8210 h 9780"/>
              <a:gd name="connsiteX2" fmla="*/ 767 w 9341"/>
              <a:gd name="connsiteY2" fmla="*/ 9302 h 9780"/>
              <a:gd name="connsiteX3" fmla="*/ 9179 w 9341"/>
              <a:gd name="connsiteY3" fmla="*/ 2575 h 9780"/>
              <a:gd name="connsiteX4" fmla="*/ 4388 w 9341"/>
              <a:gd name="connsiteY4" fmla="*/ 0 h 9780"/>
              <a:gd name="connsiteX0" fmla="*/ 1719 w 9903"/>
              <a:gd name="connsiteY0" fmla="*/ 16 h 9917"/>
              <a:gd name="connsiteX1" fmla="*/ 676 w 9903"/>
              <a:gd name="connsiteY1" fmla="*/ 8136 h 9917"/>
              <a:gd name="connsiteX2" fmla="*/ 724 w 9903"/>
              <a:gd name="connsiteY2" fmla="*/ 9511 h 9917"/>
              <a:gd name="connsiteX3" fmla="*/ 9730 w 9903"/>
              <a:gd name="connsiteY3" fmla="*/ 2633 h 9917"/>
              <a:gd name="connsiteX4" fmla="*/ 4601 w 9903"/>
              <a:gd name="connsiteY4" fmla="*/ 0 h 9917"/>
              <a:gd name="connsiteX0" fmla="*/ 1651 w 9914"/>
              <a:gd name="connsiteY0" fmla="*/ 16 h 9811"/>
              <a:gd name="connsiteX1" fmla="*/ 843 w 9914"/>
              <a:gd name="connsiteY1" fmla="*/ 7346 h 9811"/>
              <a:gd name="connsiteX2" fmla="*/ 646 w 9914"/>
              <a:gd name="connsiteY2" fmla="*/ 9591 h 9811"/>
              <a:gd name="connsiteX3" fmla="*/ 9740 w 9914"/>
              <a:gd name="connsiteY3" fmla="*/ 2655 h 9811"/>
              <a:gd name="connsiteX4" fmla="*/ 4561 w 9914"/>
              <a:gd name="connsiteY4" fmla="*/ 0 h 9811"/>
              <a:gd name="connsiteX0" fmla="*/ 1577 w 9910"/>
              <a:gd name="connsiteY0" fmla="*/ 16 h 10001"/>
              <a:gd name="connsiteX1" fmla="*/ 1061 w 9910"/>
              <a:gd name="connsiteY1" fmla="*/ 7495 h 10001"/>
              <a:gd name="connsiteX2" fmla="*/ 564 w 9910"/>
              <a:gd name="connsiteY2" fmla="*/ 9776 h 10001"/>
              <a:gd name="connsiteX3" fmla="*/ 9736 w 9910"/>
              <a:gd name="connsiteY3" fmla="*/ 2706 h 10001"/>
              <a:gd name="connsiteX4" fmla="*/ 4513 w 9910"/>
              <a:gd name="connsiteY4" fmla="*/ 0 h 10001"/>
              <a:gd name="connsiteX0" fmla="*/ 1499 w 9907"/>
              <a:gd name="connsiteY0" fmla="*/ 16 h 9999"/>
              <a:gd name="connsiteX1" fmla="*/ 1351 w 9907"/>
              <a:gd name="connsiteY1" fmla="*/ 7490 h 9999"/>
              <a:gd name="connsiteX2" fmla="*/ 477 w 9907"/>
              <a:gd name="connsiteY2" fmla="*/ 9775 h 9999"/>
              <a:gd name="connsiteX3" fmla="*/ 9732 w 9907"/>
              <a:gd name="connsiteY3" fmla="*/ 2706 h 9999"/>
              <a:gd name="connsiteX4" fmla="*/ 4462 w 9907"/>
              <a:gd name="connsiteY4" fmla="*/ 0 h 9999"/>
              <a:gd name="connsiteX0" fmla="*/ 1457 w 9943"/>
              <a:gd name="connsiteY0" fmla="*/ 16 h 10001"/>
              <a:gd name="connsiteX1" fmla="*/ 1578 w 9943"/>
              <a:gd name="connsiteY1" fmla="*/ 7497 h 10001"/>
              <a:gd name="connsiteX2" fmla="*/ 425 w 9943"/>
              <a:gd name="connsiteY2" fmla="*/ 9776 h 10001"/>
              <a:gd name="connsiteX3" fmla="*/ 9767 w 9943"/>
              <a:gd name="connsiteY3" fmla="*/ 2706 h 10001"/>
              <a:gd name="connsiteX4" fmla="*/ 4448 w 9943"/>
              <a:gd name="connsiteY4" fmla="*/ 0 h 10001"/>
              <a:gd name="connsiteX0" fmla="*/ 1492 w 10028"/>
              <a:gd name="connsiteY0" fmla="*/ 16 h 10024"/>
              <a:gd name="connsiteX1" fmla="*/ 1481 w 10028"/>
              <a:gd name="connsiteY1" fmla="*/ 7635 h 10024"/>
              <a:gd name="connsiteX2" fmla="*/ 454 w 10028"/>
              <a:gd name="connsiteY2" fmla="*/ 9775 h 10024"/>
              <a:gd name="connsiteX3" fmla="*/ 9850 w 10028"/>
              <a:gd name="connsiteY3" fmla="*/ 2706 h 10024"/>
              <a:gd name="connsiteX4" fmla="*/ 4500 w 10028"/>
              <a:gd name="connsiteY4" fmla="*/ 0 h 10024"/>
              <a:gd name="connsiteX0" fmla="*/ 1422 w 9958"/>
              <a:gd name="connsiteY0" fmla="*/ 16 h 9919"/>
              <a:gd name="connsiteX1" fmla="*/ 1411 w 9958"/>
              <a:gd name="connsiteY1" fmla="*/ 7635 h 9919"/>
              <a:gd name="connsiteX2" fmla="*/ 384 w 9958"/>
              <a:gd name="connsiteY2" fmla="*/ 9775 h 9919"/>
              <a:gd name="connsiteX3" fmla="*/ 9780 w 9958"/>
              <a:gd name="connsiteY3" fmla="*/ 2706 h 9919"/>
              <a:gd name="connsiteX4" fmla="*/ 4430 w 9958"/>
              <a:gd name="connsiteY4" fmla="*/ 0 h 9919"/>
              <a:gd name="connsiteX0" fmla="*/ 1428 w 9999"/>
              <a:gd name="connsiteY0" fmla="*/ 16 h 10000"/>
              <a:gd name="connsiteX1" fmla="*/ 1417 w 9999"/>
              <a:gd name="connsiteY1" fmla="*/ 7697 h 10000"/>
              <a:gd name="connsiteX2" fmla="*/ 386 w 9999"/>
              <a:gd name="connsiteY2" fmla="*/ 9855 h 10000"/>
              <a:gd name="connsiteX3" fmla="*/ 9821 w 9999"/>
              <a:gd name="connsiteY3" fmla="*/ 2728 h 10000"/>
              <a:gd name="connsiteX4" fmla="*/ 4449 w 9999"/>
              <a:gd name="connsiteY4" fmla="*/ 0 h 10000"/>
              <a:gd name="connsiteX0" fmla="*/ 1422 w 9994"/>
              <a:gd name="connsiteY0" fmla="*/ 16 h 9999"/>
              <a:gd name="connsiteX1" fmla="*/ 1411 w 9994"/>
              <a:gd name="connsiteY1" fmla="*/ 7697 h 9999"/>
              <a:gd name="connsiteX2" fmla="*/ 380 w 9994"/>
              <a:gd name="connsiteY2" fmla="*/ 9855 h 9999"/>
              <a:gd name="connsiteX3" fmla="*/ 9816 w 9994"/>
              <a:gd name="connsiteY3" fmla="*/ 2728 h 9999"/>
              <a:gd name="connsiteX4" fmla="*/ 4443 w 9994"/>
              <a:gd name="connsiteY4" fmla="*/ 0 h 9999"/>
              <a:gd name="connsiteX0" fmla="*/ 1423 w 9861"/>
              <a:gd name="connsiteY0" fmla="*/ 16 h 10000"/>
              <a:gd name="connsiteX1" fmla="*/ 1412 w 9861"/>
              <a:gd name="connsiteY1" fmla="*/ 7698 h 10000"/>
              <a:gd name="connsiteX2" fmla="*/ 380 w 9861"/>
              <a:gd name="connsiteY2" fmla="*/ 9856 h 10000"/>
              <a:gd name="connsiteX3" fmla="*/ 3862 w 9861"/>
              <a:gd name="connsiteY3" fmla="*/ 7697 h 10000"/>
              <a:gd name="connsiteX4" fmla="*/ 9822 w 9861"/>
              <a:gd name="connsiteY4" fmla="*/ 2728 h 10000"/>
              <a:gd name="connsiteX5" fmla="*/ 4446 w 9861"/>
              <a:gd name="connsiteY5" fmla="*/ 0 h 10000"/>
              <a:gd name="connsiteX0" fmla="*/ 1115 w 9671"/>
              <a:gd name="connsiteY0" fmla="*/ 16 h 9856"/>
              <a:gd name="connsiteX1" fmla="*/ 1104 w 9671"/>
              <a:gd name="connsiteY1" fmla="*/ 7698 h 9856"/>
              <a:gd name="connsiteX2" fmla="*/ 57 w 9671"/>
              <a:gd name="connsiteY2" fmla="*/ 9856 h 9856"/>
              <a:gd name="connsiteX3" fmla="*/ 3585 w 9671"/>
              <a:gd name="connsiteY3" fmla="*/ 7710 h 9856"/>
              <a:gd name="connsiteX4" fmla="*/ 9632 w 9671"/>
              <a:gd name="connsiteY4" fmla="*/ 2728 h 9856"/>
              <a:gd name="connsiteX5" fmla="*/ 4181 w 9671"/>
              <a:gd name="connsiteY5" fmla="*/ 0 h 9856"/>
              <a:gd name="connsiteX0" fmla="*/ 1153 w 10001"/>
              <a:gd name="connsiteY0" fmla="*/ 16 h 10000"/>
              <a:gd name="connsiteX1" fmla="*/ 1142 w 10001"/>
              <a:gd name="connsiteY1" fmla="*/ 7810 h 10000"/>
              <a:gd name="connsiteX2" fmla="*/ 59 w 10001"/>
              <a:gd name="connsiteY2" fmla="*/ 10000 h 10000"/>
              <a:gd name="connsiteX3" fmla="*/ 3707 w 10001"/>
              <a:gd name="connsiteY3" fmla="*/ 7823 h 10000"/>
              <a:gd name="connsiteX4" fmla="*/ 9960 w 10001"/>
              <a:gd name="connsiteY4" fmla="*/ 2768 h 10000"/>
              <a:gd name="connsiteX5" fmla="*/ 4323 w 10001"/>
              <a:gd name="connsiteY5" fmla="*/ 0 h 10000"/>
              <a:gd name="connsiteX0" fmla="*/ 187 w 9035"/>
              <a:gd name="connsiteY0" fmla="*/ 16 h 8627"/>
              <a:gd name="connsiteX1" fmla="*/ 176 w 9035"/>
              <a:gd name="connsiteY1" fmla="*/ 7810 h 8627"/>
              <a:gd name="connsiteX2" fmla="*/ 2741 w 9035"/>
              <a:gd name="connsiteY2" fmla="*/ 7823 h 8627"/>
              <a:gd name="connsiteX3" fmla="*/ 8994 w 9035"/>
              <a:gd name="connsiteY3" fmla="*/ 2768 h 8627"/>
              <a:gd name="connsiteX4" fmla="*/ 3357 w 9035"/>
              <a:gd name="connsiteY4" fmla="*/ 0 h 8627"/>
              <a:gd name="connsiteX0" fmla="*/ 207 w 10000"/>
              <a:gd name="connsiteY0" fmla="*/ 19 h 9728"/>
              <a:gd name="connsiteX1" fmla="*/ 195 w 10000"/>
              <a:gd name="connsiteY1" fmla="*/ 9053 h 9728"/>
              <a:gd name="connsiteX2" fmla="*/ 3034 w 10000"/>
              <a:gd name="connsiteY2" fmla="*/ 9068 h 9728"/>
              <a:gd name="connsiteX3" fmla="*/ 9955 w 10000"/>
              <a:gd name="connsiteY3" fmla="*/ 3209 h 9728"/>
              <a:gd name="connsiteX4" fmla="*/ 3716 w 10000"/>
              <a:gd name="connsiteY4" fmla="*/ 0 h 9728"/>
              <a:gd name="connsiteX0" fmla="*/ 207 w 10000"/>
              <a:gd name="connsiteY0" fmla="*/ 20 h 9323"/>
              <a:gd name="connsiteX1" fmla="*/ 195 w 10000"/>
              <a:gd name="connsiteY1" fmla="*/ 9306 h 9323"/>
              <a:gd name="connsiteX2" fmla="*/ 3034 w 10000"/>
              <a:gd name="connsiteY2" fmla="*/ 9322 h 9323"/>
              <a:gd name="connsiteX3" fmla="*/ 9955 w 10000"/>
              <a:gd name="connsiteY3" fmla="*/ 3299 h 9323"/>
              <a:gd name="connsiteX4" fmla="*/ 3716 w 10000"/>
              <a:gd name="connsiteY4" fmla="*/ 0 h 9323"/>
              <a:gd name="connsiteX0" fmla="*/ 207 w 10000"/>
              <a:gd name="connsiteY0" fmla="*/ 21 h 10000"/>
              <a:gd name="connsiteX1" fmla="*/ 195 w 10000"/>
              <a:gd name="connsiteY1" fmla="*/ 9982 h 10000"/>
              <a:gd name="connsiteX2" fmla="*/ 3034 w 10000"/>
              <a:gd name="connsiteY2" fmla="*/ 9999 h 10000"/>
              <a:gd name="connsiteX3" fmla="*/ 9955 w 10000"/>
              <a:gd name="connsiteY3" fmla="*/ 3539 h 10000"/>
              <a:gd name="connsiteX4" fmla="*/ 3716 w 10000"/>
              <a:gd name="connsiteY4" fmla="*/ 0 h 10000"/>
              <a:gd name="connsiteX0" fmla="*/ 207 w 10000"/>
              <a:gd name="connsiteY0" fmla="*/ 21 h 10000"/>
              <a:gd name="connsiteX1" fmla="*/ 195 w 10000"/>
              <a:gd name="connsiteY1" fmla="*/ 9982 h 10000"/>
              <a:gd name="connsiteX2" fmla="*/ 3034 w 10000"/>
              <a:gd name="connsiteY2" fmla="*/ 9999 h 10000"/>
              <a:gd name="connsiteX3" fmla="*/ 9955 w 10000"/>
              <a:gd name="connsiteY3" fmla="*/ 3539 h 10000"/>
              <a:gd name="connsiteX4" fmla="*/ 3716 w 10000"/>
              <a:gd name="connsiteY4" fmla="*/ 0 h 10000"/>
              <a:gd name="connsiteX0" fmla="*/ 207 w 10000"/>
              <a:gd name="connsiteY0" fmla="*/ 21 h 9999"/>
              <a:gd name="connsiteX1" fmla="*/ 195 w 10000"/>
              <a:gd name="connsiteY1" fmla="*/ 9982 h 9999"/>
              <a:gd name="connsiteX2" fmla="*/ 3034 w 10000"/>
              <a:gd name="connsiteY2" fmla="*/ 9999 h 9999"/>
              <a:gd name="connsiteX3" fmla="*/ 9955 w 10000"/>
              <a:gd name="connsiteY3" fmla="*/ 3539 h 9999"/>
              <a:gd name="connsiteX4" fmla="*/ 3716 w 10000"/>
              <a:gd name="connsiteY4" fmla="*/ 0 h 9999"/>
              <a:gd name="connsiteX0" fmla="*/ 207 w 10000"/>
              <a:gd name="connsiteY0" fmla="*/ 21 h 9988"/>
              <a:gd name="connsiteX1" fmla="*/ 195 w 10000"/>
              <a:gd name="connsiteY1" fmla="*/ 9983 h 9988"/>
              <a:gd name="connsiteX2" fmla="*/ 7054 w 10000"/>
              <a:gd name="connsiteY2" fmla="*/ 9988 h 9988"/>
              <a:gd name="connsiteX3" fmla="*/ 9955 w 10000"/>
              <a:gd name="connsiteY3" fmla="*/ 3539 h 9988"/>
              <a:gd name="connsiteX4" fmla="*/ 3716 w 10000"/>
              <a:gd name="connsiteY4" fmla="*/ 0 h 9988"/>
              <a:gd name="connsiteX0" fmla="*/ 207 w 10624"/>
              <a:gd name="connsiteY0" fmla="*/ 21 h 10000"/>
              <a:gd name="connsiteX1" fmla="*/ 195 w 10624"/>
              <a:gd name="connsiteY1" fmla="*/ 9995 h 10000"/>
              <a:gd name="connsiteX2" fmla="*/ 7054 w 10624"/>
              <a:gd name="connsiteY2" fmla="*/ 10000 h 10000"/>
              <a:gd name="connsiteX3" fmla="*/ 9955 w 10624"/>
              <a:gd name="connsiteY3" fmla="*/ 3543 h 10000"/>
              <a:gd name="connsiteX4" fmla="*/ 3716 w 10624"/>
              <a:gd name="connsiteY4" fmla="*/ 0 h 10000"/>
              <a:gd name="connsiteX0" fmla="*/ 207 w 10624"/>
              <a:gd name="connsiteY0" fmla="*/ 21 h 10000"/>
              <a:gd name="connsiteX1" fmla="*/ 195 w 10624"/>
              <a:gd name="connsiteY1" fmla="*/ 9995 h 10000"/>
              <a:gd name="connsiteX2" fmla="*/ 7054 w 10624"/>
              <a:gd name="connsiteY2" fmla="*/ 10000 h 10000"/>
              <a:gd name="connsiteX3" fmla="*/ 9955 w 10624"/>
              <a:gd name="connsiteY3" fmla="*/ 3543 h 10000"/>
              <a:gd name="connsiteX4" fmla="*/ 3716 w 10624"/>
              <a:gd name="connsiteY4" fmla="*/ 0 h 10000"/>
              <a:gd name="connsiteX0" fmla="*/ 207 w 11005"/>
              <a:gd name="connsiteY0" fmla="*/ 21 h 10000"/>
              <a:gd name="connsiteX1" fmla="*/ 195 w 11005"/>
              <a:gd name="connsiteY1" fmla="*/ 9995 h 10000"/>
              <a:gd name="connsiteX2" fmla="*/ 7054 w 11005"/>
              <a:gd name="connsiteY2" fmla="*/ 10000 h 10000"/>
              <a:gd name="connsiteX3" fmla="*/ 9955 w 11005"/>
              <a:gd name="connsiteY3" fmla="*/ 3543 h 10000"/>
              <a:gd name="connsiteX4" fmla="*/ 3716 w 11005"/>
              <a:gd name="connsiteY4" fmla="*/ 0 h 10000"/>
              <a:gd name="connsiteX0" fmla="*/ 207 w 10944"/>
              <a:gd name="connsiteY0" fmla="*/ 21 h 10000"/>
              <a:gd name="connsiteX1" fmla="*/ 195 w 10944"/>
              <a:gd name="connsiteY1" fmla="*/ 9995 h 10000"/>
              <a:gd name="connsiteX2" fmla="*/ 7054 w 10944"/>
              <a:gd name="connsiteY2" fmla="*/ 10000 h 10000"/>
              <a:gd name="connsiteX3" fmla="*/ 9955 w 10944"/>
              <a:gd name="connsiteY3" fmla="*/ 3543 h 10000"/>
              <a:gd name="connsiteX4" fmla="*/ 3716 w 10944"/>
              <a:gd name="connsiteY4" fmla="*/ 0 h 10000"/>
              <a:gd name="connsiteX0" fmla="*/ 207 w 10909"/>
              <a:gd name="connsiteY0" fmla="*/ 21 h 10000"/>
              <a:gd name="connsiteX1" fmla="*/ 195 w 10909"/>
              <a:gd name="connsiteY1" fmla="*/ 9995 h 10000"/>
              <a:gd name="connsiteX2" fmla="*/ 7054 w 10909"/>
              <a:gd name="connsiteY2" fmla="*/ 10000 h 10000"/>
              <a:gd name="connsiteX3" fmla="*/ 9955 w 10909"/>
              <a:gd name="connsiteY3" fmla="*/ 3543 h 10000"/>
              <a:gd name="connsiteX4" fmla="*/ 3716 w 10909"/>
              <a:gd name="connsiteY4" fmla="*/ 0 h 10000"/>
              <a:gd name="connsiteX0" fmla="*/ 207 w 10909"/>
              <a:gd name="connsiteY0" fmla="*/ 21 h 10000"/>
              <a:gd name="connsiteX1" fmla="*/ 195 w 10909"/>
              <a:gd name="connsiteY1" fmla="*/ 9995 h 10000"/>
              <a:gd name="connsiteX2" fmla="*/ 7054 w 10909"/>
              <a:gd name="connsiteY2" fmla="*/ 10000 h 10000"/>
              <a:gd name="connsiteX3" fmla="*/ 9955 w 10909"/>
              <a:gd name="connsiteY3" fmla="*/ 3543 h 10000"/>
              <a:gd name="connsiteX4" fmla="*/ 3716 w 10909"/>
              <a:gd name="connsiteY4" fmla="*/ 0 h 10000"/>
              <a:gd name="connsiteX0" fmla="*/ 207 w 10955"/>
              <a:gd name="connsiteY0" fmla="*/ 21 h 10000"/>
              <a:gd name="connsiteX1" fmla="*/ 195 w 10955"/>
              <a:gd name="connsiteY1" fmla="*/ 9995 h 10000"/>
              <a:gd name="connsiteX2" fmla="*/ 7054 w 10955"/>
              <a:gd name="connsiteY2" fmla="*/ 10000 h 10000"/>
              <a:gd name="connsiteX3" fmla="*/ 9955 w 10955"/>
              <a:gd name="connsiteY3" fmla="*/ 3543 h 10000"/>
              <a:gd name="connsiteX4" fmla="*/ 3716 w 10955"/>
              <a:gd name="connsiteY4" fmla="*/ 0 h 10000"/>
              <a:gd name="connsiteX0" fmla="*/ 198 w 10946"/>
              <a:gd name="connsiteY0" fmla="*/ 21 h 10000"/>
              <a:gd name="connsiteX1" fmla="*/ 186 w 10946"/>
              <a:gd name="connsiteY1" fmla="*/ 9995 h 10000"/>
              <a:gd name="connsiteX2" fmla="*/ 7045 w 10946"/>
              <a:gd name="connsiteY2" fmla="*/ 10000 h 10000"/>
              <a:gd name="connsiteX3" fmla="*/ 9946 w 10946"/>
              <a:gd name="connsiteY3" fmla="*/ 3543 h 10000"/>
              <a:gd name="connsiteX4" fmla="*/ 3707 w 10946"/>
              <a:gd name="connsiteY4" fmla="*/ 0 h 10000"/>
              <a:gd name="connsiteX0" fmla="*/ 12 w 10760"/>
              <a:gd name="connsiteY0" fmla="*/ 21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1927 w 10760"/>
              <a:gd name="connsiteY0" fmla="*/ 9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3264 w 10760"/>
              <a:gd name="connsiteY0" fmla="*/ 159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2883 w 10760"/>
              <a:gd name="connsiteY0" fmla="*/ 13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2 w 7879"/>
              <a:gd name="connsiteY0" fmla="*/ 13 h 10000"/>
              <a:gd name="connsiteX1" fmla="*/ 499 w 7879"/>
              <a:gd name="connsiteY1" fmla="*/ 9990 h 10000"/>
              <a:gd name="connsiteX2" fmla="*/ 3978 w 7879"/>
              <a:gd name="connsiteY2" fmla="*/ 10000 h 10000"/>
              <a:gd name="connsiteX3" fmla="*/ 6879 w 7879"/>
              <a:gd name="connsiteY3" fmla="*/ 3543 h 10000"/>
              <a:gd name="connsiteX4" fmla="*/ 640 w 7879"/>
              <a:gd name="connsiteY4" fmla="*/ 0 h 10000"/>
              <a:gd name="connsiteX0" fmla="*/ 16 w 10014"/>
              <a:gd name="connsiteY0" fmla="*/ 13 h 10002"/>
              <a:gd name="connsiteX1" fmla="*/ 0 w 10014"/>
              <a:gd name="connsiteY1" fmla="*/ 10002 h 10002"/>
              <a:gd name="connsiteX2" fmla="*/ 5062 w 10014"/>
              <a:gd name="connsiteY2" fmla="*/ 10000 h 10002"/>
              <a:gd name="connsiteX3" fmla="*/ 8744 w 10014"/>
              <a:gd name="connsiteY3" fmla="*/ 3543 h 10002"/>
              <a:gd name="connsiteX4" fmla="*/ 825 w 10014"/>
              <a:gd name="connsiteY4" fmla="*/ 0 h 10002"/>
              <a:gd name="connsiteX0" fmla="*/ 22 w 10020"/>
              <a:gd name="connsiteY0" fmla="*/ 13 h 10002"/>
              <a:gd name="connsiteX1" fmla="*/ 6 w 10020"/>
              <a:gd name="connsiteY1" fmla="*/ 10002 h 10002"/>
              <a:gd name="connsiteX2" fmla="*/ 5068 w 10020"/>
              <a:gd name="connsiteY2" fmla="*/ 10000 h 10002"/>
              <a:gd name="connsiteX3" fmla="*/ 8750 w 10020"/>
              <a:gd name="connsiteY3" fmla="*/ 3543 h 10002"/>
              <a:gd name="connsiteX4" fmla="*/ 831 w 10020"/>
              <a:gd name="connsiteY4" fmla="*/ 0 h 10002"/>
              <a:gd name="connsiteX0" fmla="*/ 24 w 10019"/>
              <a:gd name="connsiteY0" fmla="*/ 21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24 w 10019"/>
              <a:gd name="connsiteY0" fmla="*/ 15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24 w 10019"/>
              <a:gd name="connsiteY0" fmla="*/ 13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18 w 10027"/>
              <a:gd name="connsiteY0" fmla="*/ 15 h 10002"/>
              <a:gd name="connsiteX1" fmla="*/ 13 w 10027"/>
              <a:gd name="connsiteY1" fmla="*/ 10002 h 10002"/>
              <a:gd name="connsiteX2" fmla="*/ 5075 w 10027"/>
              <a:gd name="connsiteY2" fmla="*/ 10000 h 10002"/>
              <a:gd name="connsiteX3" fmla="*/ 8757 w 10027"/>
              <a:gd name="connsiteY3" fmla="*/ 3543 h 10002"/>
              <a:gd name="connsiteX4" fmla="*/ 838 w 10027"/>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25 w 10014"/>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01 w 10014"/>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01 w 10014"/>
              <a:gd name="connsiteY4" fmla="*/ 0 h 10002"/>
              <a:gd name="connsiteX0" fmla="*/ 5 w 9975"/>
              <a:gd name="connsiteY0" fmla="*/ 15 h 10002"/>
              <a:gd name="connsiteX1" fmla="*/ 0 w 9975"/>
              <a:gd name="connsiteY1" fmla="*/ 10002 h 10002"/>
              <a:gd name="connsiteX2" fmla="*/ 5062 w 9975"/>
              <a:gd name="connsiteY2" fmla="*/ 10000 h 10002"/>
              <a:gd name="connsiteX3" fmla="*/ 8744 w 9975"/>
              <a:gd name="connsiteY3" fmla="*/ 3543 h 10002"/>
              <a:gd name="connsiteX4" fmla="*/ 801 w 9975"/>
              <a:gd name="connsiteY4" fmla="*/ 0 h 10002"/>
              <a:gd name="connsiteX0" fmla="*/ 5 w 10033"/>
              <a:gd name="connsiteY0" fmla="*/ 15 h 10000"/>
              <a:gd name="connsiteX1" fmla="*/ 0 w 10033"/>
              <a:gd name="connsiteY1" fmla="*/ 10000 h 10000"/>
              <a:gd name="connsiteX2" fmla="*/ 5075 w 10033"/>
              <a:gd name="connsiteY2" fmla="*/ 9998 h 10000"/>
              <a:gd name="connsiteX3" fmla="*/ 8766 w 10033"/>
              <a:gd name="connsiteY3" fmla="*/ 3542 h 10000"/>
              <a:gd name="connsiteX4" fmla="*/ 803 w 10033"/>
              <a:gd name="connsiteY4" fmla="*/ 0 h 10000"/>
              <a:gd name="connsiteX0" fmla="*/ 0 w 10359"/>
              <a:gd name="connsiteY0" fmla="*/ 5 h 10000"/>
              <a:gd name="connsiteX1" fmla="*/ 326 w 10359"/>
              <a:gd name="connsiteY1" fmla="*/ 10000 h 10000"/>
              <a:gd name="connsiteX2" fmla="*/ 5401 w 10359"/>
              <a:gd name="connsiteY2" fmla="*/ 9998 h 10000"/>
              <a:gd name="connsiteX3" fmla="*/ 9092 w 10359"/>
              <a:gd name="connsiteY3" fmla="*/ 3542 h 10000"/>
              <a:gd name="connsiteX4" fmla="*/ 1129 w 10359"/>
              <a:gd name="connsiteY4" fmla="*/ 0 h 10000"/>
              <a:gd name="connsiteX0" fmla="*/ 11 w 10370"/>
              <a:gd name="connsiteY0" fmla="*/ 5 h 9998"/>
              <a:gd name="connsiteX1" fmla="*/ 0 w 10370"/>
              <a:gd name="connsiteY1" fmla="*/ 9983 h 9998"/>
              <a:gd name="connsiteX2" fmla="*/ 5412 w 10370"/>
              <a:gd name="connsiteY2" fmla="*/ 9998 h 9998"/>
              <a:gd name="connsiteX3" fmla="*/ 9103 w 10370"/>
              <a:gd name="connsiteY3" fmla="*/ 3542 h 9998"/>
              <a:gd name="connsiteX4" fmla="*/ 1140 w 10370"/>
              <a:gd name="connsiteY4" fmla="*/ 0 h 9998"/>
              <a:gd name="connsiteX0" fmla="*/ 11 w 10000"/>
              <a:gd name="connsiteY0" fmla="*/ 5 h 10000"/>
              <a:gd name="connsiteX1" fmla="*/ 0 w 10000"/>
              <a:gd name="connsiteY1" fmla="*/ 9995 h 10000"/>
              <a:gd name="connsiteX2" fmla="*/ 5219 w 10000"/>
              <a:gd name="connsiteY2" fmla="*/ 10000 h 10000"/>
              <a:gd name="connsiteX3" fmla="*/ 8778 w 10000"/>
              <a:gd name="connsiteY3" fmla="*/ 3543 h 10000"/>
              <a:gd name="connsiteX4" fmla="*/ 1099 w 10000"/>
              <a:gd name="connsiteY4" fmla="*/ 0 h 10000"/>
              <a:gd name="connsiteX0" fmla="*/ 11 w 10000"/>
              <a:gd name="connsiteY0" fmla="*/ 5 h 10000"/>
              <a:gd name="connsiteX1" fmla="*/ 0 w 10000"/>
              <a:gd name="connsiteY1" fmla="*/ 10000 h 10000"/>
              <a:gd name="connsiteX2" fmla="*/ 5219 w 10000"/>
              <a:gd name="connsiteY2" fmla="*/ 10000 h 10000"/>
              <a:gd name="connsiteX3" fmla="*/ 8778 w 10000"/>
              <a:gd name="connsiteY3" fmla="*/ 3543 h 10000"/>
              <a:gd name="connsiteX4" fmla="*/ 109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1" y="5"/>
                </a:moveTo>
                <a:cubicBezTo>
                  <a:pt x="4" y="653"/>
                  <a:pt x="6" y="9269"/>
                  <a:pt x="0" y="10000"/>
                </a:cubicBezTo>
                <a:lnTo>
                  <a:pt x="5219" y="10000"/>
                </a:lnTo>
                <a:cubicBezTo>
                  <a:pt x="11830" y="6870"/>
                  <a:pt x="10065" y="3822"/>
                  <a:pt x="8778" y="3543"/>
                </a:cubicBezTo>
                <a:cubicBezTo>
                  <a:pt x="9452" y="5694"/>
                  <a:pt x="2995" y="3804"/>
                  <a:pt x="1099" y="0"/>
                </a:cubicBezTo>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endParaRPr lang="en-US" sz="2400" dirty="0"/>
          </a:p>
        </p:txBody>
      </p:sp>
      <p:grpSp>
        <p:nvGrpSpPr>
          <p:cNvPr id="5" name="Group 4"/>
          <p:cNvGrpSpPr/>
          <p:nvPr/>
        </p:nvGrpSpPr>
        <p:grpSpPr>
          <a:xfrm>
            <a:off x="4938560" y="2397563"/>
            <a:ext cx="721601" cy="682904"/>
            <a:chOff x="5662614" y="3032124"/>
            <a:chExt cx="863600" cy="801689"/>
          </a:xfrm>
        </p:grpSpPr>
        <p:sp>
          <p:nvSpPr>
            <p:cNvPr id="6" name="Freeform 5"/>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7" name="Freeform 6"/>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grpSp>
      <p:sp>
        <p:nvSpPr>
          <p:cNvPr id="16" name="Rectangle 15"/>
          <p:cNvSpPr/>
          <p:nvPr/>
        </p:nvSpPr>
        <p:spPr>
          <a:xfrm>
            <a:off x="803869" y="5063024"/>
            <a:ext cx="4024517" cy="723275"/>
          </a:xfrm>
          <a:prstGeom prst="rect">
            <a:avLst/>
          </a:prstGeom>
        </p:spPr>
        <p:txBody>
          <a:bodyPr wrap="square" lIns="0" tIns="0" rIns="0" bIns="0" anchor="b" anchorCtr="0">
            <a:spAutoFit/>
          </a:bodyPr>
          <a:lstStyle/>
          <a:p>
            <a:pPr>
              <a:spcAft>
                <a:spcPts val="600"/>
              </a:spcAft>
            </a:pPr>
            <a: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t>This message contains information that may be privileged or confidential and is the property of the Capgemini Group.</a:t>
            </a:r>
            <a:b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br>
            <a: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t>Copyright © 2018 Capgemini. All rights reserved.</a:t>
            </a:r>
          </a:p>
          <a:p>
            <a:pPr marL="0" marR="0" indent="0" defTabSz="957732" rtl="0" eaLnBrk="1" fontAlgn="auto" latinLnBrk="0" hangingPunct="1">
              <a:lnSpc>
                <a:spcPct val="100000"/>
              </a:lnSpc>
              <a:spcBef>
                <a:spcPts val="0"/>
              </a:spcBef>
              <a:spcAft>
                <a:spcPts val="600"/>
              </a:spcAft>
              <a:buClrTx/>
              <a:buSzTx/>
              <a:buFontTx/>
              <a:buNone/>
              <a:tabLst/>
              <a:defRPr/>
            </a:pPr>
            <a: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t>Rightshore</a:t>
            </a:r>
            <a:r>
              <a:rPr lang="en-US" sz="1050" baseline="30000" noProof="0" dirty="0">
                <a:solidFill>
                  <a:schemeClr val="bg1"/>
                </a:solidFill>
                <a:latin typeface="Verdana" panose="020B0604030504040204" pitchFamily="34" charset="0"/>
                <a:ea typeface="Verdana" panose="020B0604030504040204" pitchFamily="34" charset="0"/>
                <a:cs typeface="Verdana" panose="020B0604030504040204" pitchFamily="34" charset="0"/>
              </a:rPr>
              <a:t>®</a:t>
            </a:r>
            <a: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t> is a trademark belonging to Capgemini.</a:t>
            </a:r>
          </a:p>
        </p:txBody>
      </p:sp>
      <p:pic>
        <p:nvPicPr>
          <p:cNvPr id="24" name="Picture 2" descr="D:\My Work\Template\Icons\Social Media\LinkedIN.png">
            <a:hlinkClick r:id="rId7"/>
          </p:cNvPr>
          <p:cNvPicPr>
            <a:picLocks noChangeAspect="1" noChangeArrowheads="1"/>
          </p:cNvPicPr>
          <p:nvPr/>
        </p:nvPicPr>
        <p:blipFill>
          <a:blip r:embed="rId8" cstate="print"/>
          <a:srcRect/>
          <a:stretch>
            <a:fillRect/>
          </a:stretch>
        </p:blipFill>
        <p:spPr bwMode="auto">
          <a:xfrm>
            <a:off x="1237871" y="3450893"/>
            <a:ext cx="436028" cy="444511"/>
          </a:xfrm>
          <a:prstGeom prst="rect">
            <a:avLst/>
          </a:prstGeom>
          <a:noFill/>
        </p:spPr>
      </p:pic>
      <p:pic>
        <p:nvPicPr>
          <p:cNvPr id="25" name="Picture 4" descr="D:\My Work\Template\Icons\Social Media\SlideShare.png">
            <a:hlinkClick r:id="rId9"/>
          </p:cNvPr>
          <p:cNvPicPr>
            <a:picLocks noChangeAspect="1" noChangeArrowheads="1"/>
          </p:cNvPicPr>
          <p:nvPr/>
        </p:nvPicPr>
        <p:blipFill>
          <a:blip r:embed="rId10" cstate="print"/>
          <a:srcRect/>
          <a:stretch>
            <a:fillRect/>
          </a:stretch>
        </p:blipFill>
        <p:spPr bwMode="auto">
          <a:xfrm>
            <a:off x="1739569" y="3450893"/>
            <a:ext cx="436028" cy="444511"/>
          </a:xfrm>
          <a:prstGeom prst="rect">
            <a:avLst/>
          </a:prstGeom>
          <a:noFill/>
        </p:spPr>
      </p:pic>
      <p:pic>
        <p:nvPicPr>
          <p:cNvPr id="26" name="Picture 5" descr="D:\My Work\Template\Icons\Social Media\Twitter.png">
            <a:hlinkClick r:id="rId11"/>
          </p:cNvPr>
          <p:cNvPicPr>
            <a:picLocks noChangeAspect="1" noChangeArrowheads="1"/>
          </p:cNvPicPr>
          <p:nvPr/>
        </p:nvPicPr>
        <p:blipFill>
          <a:blip r:embed="rId12" cstate="print"/>
          <a:srcRect/>
          <a:stretch>
            <a:fillRect/>
          </a:stretch>
        </p:blipFill>
        <p:spPr bwMode="auto">
          <a:xfrm>
            <a:off x="2241265" y="3450893"/>
            <a:ext cx="436028" cy="444511"/>
          </a:xfrm>
          <a:prstGeom prst="rect">
            <a:avLst/>
          </a:prstGeom>
          <a:noFill/>
        </p:spPr>
      </p:pic>
      <p:pic>
        <p:nvPicPr>
          <p:cNvPr id="27" name="Picture 6" descr="D:\My Work\Template\Icons\Social Media\YouTube.png">
            <a:hlinkClick r:id="rId13"/>
          </p:cNvPr>
          <p:cNvPicPr>
            <a:picLocks noChangeAspect="1" noChangeArrowheads="1"/>
          </p:cNvPicPr>
          <p:nvPr/>
        </p:nvPicPr>
        <p:blipFill>
          <a:blip r:embed="rId14" cstate="print"/>
          <a:srcRect/>
          <a:stretch>
            <a:fillRect/>
          </a:stretch>
        </p:blipFill>
        <p:spPr bwMode="auto">
          <a:xfrm>
            <a:off x="2742961" y="3450893"/>
            <a:ext cx="436028" cy="444511"/>
          </a:xfrm>
          <a:prstGeom prst="rect">
            <a:avLst/>
          </a:prstGeom>
          <a:noFill/>
        </p:spPr>
      </p:pic>
      <p:pic>
        <p:nvPicPr>
          <p:cNvPr id="28" name="Picture 7" descr="D:\My Work\Template\Icons\Social Media\Facebook.png">
            <a:hlinkClick r:id="rId15"/>
          </p:cNvPr>
          <p:cNvPicPr>
            <a:picLocks noChangeAspect="1" noChangeArrowheads="1"/>
          </p:cNvPicPr>
          <p:nvPr/>
        </p:nvPicPr>
        <p:blipFill>
          <a:blip r:embed="rId16" cstate="print"/>
          <a:srcRect/>
          <a:stretch>
            <a:fillRect/>
          </a:stretch>
        </p:blipFill>
        <p:spPr bwMode="auto">
          <a:xfrm>
            <a:off x="736173" y="3450893"/>
            <a:ext cx="436028" cy="444511"/>
          </a:xfrm>
          <a:prstGeom prst="rect">
            <a:avLst/>
          </a:prstGeom>
          <a:noFill/>
        </p:spPr>
      </p:pic>
      <p:pic>
        <p:nvPicPr>
          <p:cNvPr id="29" name="Picture 28"/>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726401" y="4057788"/>
            <a:ext cx="3350504" cy="268168"/>
          </a:xfrm>
          <a:prstGeom prst="rect">
            <a:avLst/>
          </a:prstGeom>
        </p:spPr>
      </p:pic>
    </p:spTree>
    <p:extLst>
      <p:ext uri="{BB962C8B-B14F-4D97-AF65-F5344CB8AC3E}">
        <p14:creationId xmlns:p14="http://schemas.microsoft.com/office/powerpoint/2010/main" val="280362022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1_Section break 3">
    <p:spTree>
      <p:nvGrpSpPr>
        <p:cNvPr id="1" name=""/>
        <p:cNvGrpSpPr/>
        <p:nvPr/>
      </p:nvGrpSpPr>
      <p:grpSpPr>
        <a:xfrm>
          <a:off x="0" y="0"/>
          <a:ext cx="0" cy="0"/>
          <a:chOff x="0" y="0"/>
          <a:chExt cx="0" cy="0"/>
        </a:xfrm>
      </p:grpSpPr>
      <p:pic>
        <p:nvPicPr>
          <p:cNvPr id="9" name="Picture Placeholder 2"/>
          <p:cNvPicPr>
            <a:picLocks noChangeAspect="1"/>
          </p:cNvPicPr>
          <p:nvPr/>
        </p:nvPicPr>
        <p:blipFill rotWithShape="1">
          <a:blip r:embed="rId4" cstate="print">
            <a:extLst>
              <a:ext uri="{28A0092B-C50C-407E-A947-70E740481C1C}">
                <a14:useLocalDpi xmlns:a14="http://schemas.microsoft.com/office/drawing/2010/main" val="0"/>
              </a:ext>
            </a:extLst>
          </a:blip>
          <a:srcRect l="1740" t="18900" r="1740"/>
          <a:stretch/>
        </p:blipFill>
        <p:spPr>
          <a:xfrm>
            <a:off x="3174" y="0"/>
            <a:ext cx="12230232" cy="6859588"/>
          </a:xfrm>
          <a:prstGeom prst="rect">
            <a:avLst/>
          </a:prstGeom>
        </p:spPr>
      </p:pic>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650" name="think-cell Slide" r:id="rId5" imgW="270" imgH="270" progId="TCLayout.ActiveDocument.1">
                  <p:embed/>
                </p:oleObj>
              </mc:Choice>
              <mc:Fallback>
                <p:oleObj name="think-cell Slide" r:id="rId5" imgW="270" imgH="270" progId="TCLayout.ActiveDocument.1">
                  <p:embed/>
                  <p:pic>
                    <p:nvPicPr>
                      <p:cNvPr id="10" name="Object 9"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6">
            <a:extLst>
              <a:ext uri="{FF2B5EF4-FFF2-40B4-BE49-F238E27FC236}">
                <a16:creationId xmlns:a16="http://schemas.microsoft.com/office/drawing/2014/main" id="{631F0F0A-472B-4CAB-88F4-DEDA90391D49}"/>
              </a:ext>
            </a:extLst>
          </p:cNvPr>
          <p:cNvSpPr>
            <a:spLocks/>
          </p:cNvSpPr>
          <p:nvPr/>
        </p:nvSpPr>
        <p:spPr bwMode="auto">
          <a:xfrm flipV="1">
            <a:off x="4089400" y="1771574"/>
            <a:ext cx="8140700" cy="5086426"/>
          </a:xfrm>
          <a:custGeom>
            <a:avLst/>
            <a:gdLst/>
            <a:ahLst/>
            <a:cxnLst>
              <a:cxn ang="0">
                <a:pos x="1871" y="215"/>
              </a:cxn>
              <a:cxn ang="0">
                <a:pos x="1871" y="223"/>
              </a:cxn>
              <a:cxn ang="0">
                <a:pos x="1868" y="226"/>
              </a:cxn>
              <a:cxn ang="0">
                <a:pos x="1857" y="280"/>
              </a:cxn>
              <a:cxn ang="0">
                <a:pos x="1803" y="433"/>
              </a:cxn>
              <a:cxn ang="0">
                <a:pos x="1706" y="562"/>
              </a:cxn>
              <a:cxn ang="0">
                <a:pos x="1530" y="646"/>
              </a:cxn>
              <a:cxn ang="0">
                <a:pos x="1442" y="654"/>
              </a:cxn>
              <a:cxn ang="0">
                <a:pos x="1431" y="649"/>
              </a:cxn>
              <a:cxn ang="0">
                <a:pos x="1374" y="588"/>
              </a:cxn>
              <a:cxn ang="0">
                <a:pos x="1221" y="521"/>
              </a:cxn>
              <a:cxn ang="0">
                <a:pos x="1005" y="471"/>
              </a:cxn>
              <a:cxn ang="0">
                <a:pos x="680" y="410"/>
              </a:cxn>
              <a:cxn ang="0">
                <a:pos x="399" y="335"/>
              </a:cxn>
              <a:cxn ang="0">
                <a:pos x="173" y="224"/>
              </a:cxn>
              <a:cxn ang="0">
                <a:pos x="12" y="36"/>
              </a:cxn>
              <a:cxn ang="0">
                <a:pos x="1" y="0"/>
              </a:cxn>
              <a:cxn ang="0">
                <a:pos x="49" y="0"/>
              </a:cxn>
              <a:cxn ang="0">
                <a:pos x="1856" y="0"/>
              </a:cxn>
              <a:cxn ang="0">
                <a:pos x="1869" y="13"/>
              </a:cxn>
              <a:cxn ang="0">
                <a:pos x="1869" y="205"/>
              </a:cxn>
              <a:cxn ang="0">
                <a:pos x="1871" y="215"/>
              </a:cxn>
            </a:cxnLst>
            <a:rect l="0" t="0" r="r" b="b"/>
            <a:pathLst>
              <a:path w="1871" h="654">
                <a:moveTo>
                  <a:pt x="1871" y="215"/>
                </a:moveTo>
                <a:cubicBezTo>
                  <a:pt x="1871" y="217"/>
                  <a:pt x="1871" y="220"/>
                  <a:pt x="1871" y="223"/>
                </a:cubicBezTo>
                <a:cubicBezTo>
                  <a:pt x="1869" y="223"/>
                  <a:pt x="1869" y="225"/>
                  <a:pt x="1868" y="226"/>
                </a:cubicBezTo>
                <a:cubicBezTo>
                  <a:pt x="1865" y="244"/>
                  <a:pt x="1861" y="262"/>
                  <a:pt x="1857" y="280"/>
                </a:cubicBezTo>
                <a:cubicBezTo>
                  <a:pt x="1845" y="333"/>
                  <a:pt x="1828" y="384"/>
                  <a:pt x="1803" y="433"/>
                </a:cubicBezTo>
                <a:cubicBezTo>
                  <a:pt x="1778" y="482"/>
                  <a:pt x="1747" y="525"/>
                  <a:pt x="1706" y="562"/>
                </a:cubicBezTo>
                <a:cubicBezTo>
                  <a:pt x="1656" y="607"/>
                  <a:pt x="1597" y="635"/>
                  <a:pt x="1530" y="646"/>
                </a:cubicBezTo>
                <a:cubicBezTo>
                  <a:pt x="1501" y="652"/>
                  <a:pt x="1472" y="654"/>
                  <a:pt x="1442" y="654"/>
                </a:cubicBezTo>
                <a:cubicBezTo>
                  <a:pt x="1437" y="654"/>
                  <a:pt x="1434" y="653"/>
                  <a:pt x="1431" y="649"/>
                </a:cubicBezTo>
                <a:cubicBezTo>
                  <a:pt x="1417" y="623"/>
                  <a:pt x="1397" y="604"/>
                  <a:pt x="1374" y="588"/>
                </a:cubicBezTo>
                <a:cubicBezTo>
                  <a:pt x="1327" y="556"/>
                  <a:pt x="1274" y="537"/>
                  <a:pt x="1221" y="521"/>
                </a:cubicBezTo>
                <a:cubicBezTo>
                  <a:pt x="1150" y="500"/>
                  <a:pt x="1078" y="485"/>
                  <a:pt x="1005" y="471"/>
                </a:cubicBezTo>
                <a:cubicBezTo>
                  <a:pt x="897" y="450"/>
                  <a:pt x="788" y="432"/>
                  <a:pt x="680" y="410"/>
                </a:cubicBezTo>
                <a:cubicBezTo>
                  <a:pt x="585" y="390"/>
                  <a:pt x="490" y="367"/>
                  <a:pt x="399" y="335"/>
                </a:cubicBezTo>
                <a:cubicBezTo>
                  <a:pt x="319" y="307"/>
                  <a:pt x="243" y="272"/>
                  <a:pt x="173" y="224"/>
                </a:cubicBezTo>
                <a:cubicBezTo>
                  <a:pt x="104" y="175"/>
                  <a:pt x="47" y="114"/>
                  <a:pt x="12" y="36"/>
                </a:cubicBezTo>
                <a:cubicBezTo>
                  <a:pt x="7" y="24"/>
                  <a:pt x="0" y="13"/>
                  <a:pt x="1" y="0"/>
                </a:cubicBezTo>
                <a:cubicBezTo>
                  <a:pt x="17" y="0"/>
                  <a:pt x="33" y="0"/>
                  <a:pt x="49" y="0"/>
                </a:cubicBezTo>
                <a:cubicBezTo>
                  <a:pt x="651" y="0"/>
                  <a:pt x="1254" y="0"/>
                  <a:pt x="1856" y="0"/>
                </a:cubicBezTo>
                <a:cubicBezTo>
                  <a:pt x="1869" y="0"/>
                  <a:pt x="1869" y="0"/>
                  <a:pt x="1869" y="13"/>
                </a:cubicBezTo>
                <a:cubicBezTo>
                  <a:pt x="1869" y="77"/>
                  <a:pt x="1869" y="141"/>
                  <a:pt x="1869" y="205"/>
                </a:cubicBezTo>
                <a:cubicBezTo>
                  <a:pt x="1869" y="208"/>
                  <a:pt x="1868" y="212"/>
                  <a:pt x="1871" y="215"/>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6226508" y="4574713"/>
            <a:ext cx="5419268"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2363217598"/>
      </p:ext>
    </p:extLst>
  </p:cSld>
  <p:clrMapOvr>
    <a:masterClrMapping/>
  </p:clrMapOvr>
  <p:extLst>
    <p:ext uri="{DCECCB84-F9BA-43D5-87BE-67443E8EF086}">
      <p15:sldGuideLst xmlns:p15="http://schemas.microsoft.com/office/powerpoint/2012/main">
        <p15:guide id="1" pos="279">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Title with Lead Line &amp; Bulleted List">
    <p:spTree>
      <p:nvGrpSpPr>
        <p:cNvPr id="1" name=""/>
        <p:cNvGrpSpPr/>
        <p:nvPr/>
      </p:nvGrpSpPr>
      <p:grpSpPr>
        <a:xfrm>
          <a:off x="0" y="0"/>
          <a:ext cx="0" cy="0"/>
          <a:chOff x="0" y="0"/>
          <a:chExt cx="0" cy="0"/>
        </a:xfrm>
      </p:grpSpPr>
      <p:sp>
        <p:nvSpPr>
          <p:cNvPr id="2" name="Title 1"/>
          <p:cNvSpPr>
            <a:spLocks noGrp="1"/>
          </p:cNvSpPr>
          <p:nvPr>
            <p:ph type="title"/>
          </p:nvPr>
        </p:nvSpPr>
        <p:spPr>
          <a:xfrm>
            <a:off x="423336" y="25263"/>
            <a:ext cx="11368617" cy="822960"/>
          </a:xfrm>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423336" y="1005841"/>
            <a:ext cx="11368617" cy="1293496"/>
          </a:xfrm>
          <a:noFill/>
          <a:ln w="9525" algn="ctr">
            <a:noFill/>
            <a:miter lim="800000"/>
            <a:headEnd/>
            <a:tailEnd/>
          </a:ln>
          <a:effectLst/>
        </p:spPr>
        <p:txBody>
          <a:bodyPr vert="horz" wrap="square" lIns="0" tIns="0" rIns="0" bIns="0" numCol="1" anchor="t" anchorCtr="0" compatLnSpc="1">
            <a:prstTxWarp prst="textNoShape">
              <a:avLst/>
            </a:prstTxWarp>
            <a:spAutoFit/>
          </a:bodyPr>
          <a:lstStyle>
            <a:lvl1pPr marL="0" indent="0" algn="l" defTabSz="914382" rtl="0" eaLnBrk="0" fontAlgn="base" latinLnBrk="0" hangingPunct="0">
              <a:spcBef>
                <a:spcPct val="0"/>
              </a:spcBef>
              <a:spcAft>
                <a:spcPts val="600"/>
              </a:spcAft>
              <a:buClr>
                <a:schemeClr val="accent2"/>
              </a:buClr>
              <a:buNone/>
              <a:defRPr lang="en-US" sz="1577" b="1" kern="1200" dirty="0" smtClean="0">
                <a:solidFill>
                  <a:schemeClr val="tx1"/>
                </a:solidFill>
                <a:latin typeface="Arial" pitchFamily="34" charset="0"/>
                <a:ea typeface="+mn-ea"/>
                <a:cs typeface="Arial" pitchFamily="34" charset="0"/>
              </a:defRPr>
            </a:lvl1pPr>
            <a:lvl2pPr marL="233359" indent="-233359" algn="l" defTabSz="914382" rtl="0" eaLnBrk="0" fontAlgn="base" latinLnBrk="0" hangingPunct="0">
              <a:spcBef>
                <a:spcPct val="0"/>
              </a:spcBef>
              <a:spcAft>
                <a:spcPts val="600"/>
              </a:spcAft>
              <a:buClr>
                <a:schemeClr val="accent2"/>
              </a:buClr>
              <a:buFont typeface="Wingdings" pitchFamily="2" charset="2"/>
              <a:buChar char="§"/>
              <a:defRPr lang="en-US" sz="1577" b="0" kern="1200" dirty="0" smtClean="0">
                <a:solidFill>
                  <a:schemeClr val="tx1"/>
                </a:solidFill>
                <a:latin typeface="Arial" pitchFamily="34" charset="0"/>
                <a:ea typeface="+mn-ea"/>
                <a:cs typeface="Arial" pitchFamily="34" charset="0"/>
              </a:defRPr>
            </a:lvl2pPr>
            <a:lvl3pPr marL="457191" indent="-223834" algn="l" defTabSz="914382" rtl="0" eaLnBrk="0" fontAlgn="base" latinLnBrk="0" hangingPunct="0">
              <a:spcBef>
                <a:spcPct val="0"/>
              </a:spcBef>
              <a:spcAft>
                <a:spcPts val="600"/>
              </a:spcAft>
              <a:buClr>
                <a:schemeClr val="accent2"/>
              </a:buClr>
              <a:buFont typeface="Arial" pitchFamily="34" charset="0"/>
              <a:buChar char="–"/>
              <a:defRPr lang="en-US" sz="1427" b="0" kern="1200" dirty="0" smtClean="0">
                <a:solidFill>
                  <a:schemeClr val="tx1"/>
                </a:solidFill>
                <a:latin typeface="Arial" pitchFamily="34" charset="0"/>
                <a:ea typeface="+mn-ea"/>
                <a:cs typeface="Arial" pitchFamily="34" charset="0"/>
              </a:defRPr>
            </a:lvl3pPr>
            <a:lvl4pPr marL="690551" indent="-233359" algn="l" defTabSz="914382" rtl="0" eaLnBrk="0" fontAlgn="base" latinLnBrk="0" hangingPunct="0">
              <a:spcBef>
                <a:spcPct val="0"/>
              </a:spcBef>
              <a:spcAft>
                <a:spcPts val="600"/>
              </a:spcAft>
              <a:buClr>
                <a:schemeClr val="accent2"/>
              </a:buClr>
              <a:buFont typeface="Arial" pitchFamily="34" charset="0"/>
              <a:buChar char="•"/>
              <a:defRPr lang="en-US" sz="1201" b="0" kern="1200" dirty="0" smtClean="0">
                <a:solidFill>
                  <a:schemeClr val="tx1"/>
                </a:solidFill>
                <a:latin typeface="Arial" pitchFamily="34" charset="0"/>
                <a:ea typeface="+mn-ea"/>
                <a:cs typeface="Arial" pitchFamily="34" charset="0"/>
              </a:defRPr>
            </a:lvl4pPr>
            <a:lvl5pPr marL="914382" indent="-223834" algn="l" defTabSz="914382" rtl="0" eaLnBrk="0" fontAlgn="base" latinLnBrk="0" hangingPunct="0">
              <a:spcBef>
                <a:spcPct val="0"/>
              </a:spcBef>
              <a:spcAft>
                <a:spcPts val="600"/>
              </a:spcAft>
              <a:buClr>
                <a:schemeClr val="accent2"/>
              </a:buClr>
              <a:buFont typeface="Arial" pitchFamily="34" charset="0"/>
              <a:buChar char="–"/>
              <a:defRPr lang="en-US" sz="1201" b="0" kern="1200" dirty="0" smtClean="0">
                <a:solidFill>
                  <a:schemeClr val="tx1"/>
                </a:solidFill>
                <a:latin typeface="Arial" pitchFamily="34" charset="0"/>
                <a:ea typeface="+mn-ea"/>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606200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2" name="Rectangle 1"/>
          <p:cNvSpPr/>
          <p:nvPr userDrawn="1"/>
        </p:nvSpPr>
        <p:spPr>
          <a:xfrm>
            <a:off x="0" y="6217920"/>
            <a:ext cx="5893701" cy="64008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grpSp>
        <p:nvGrpSpPr>
          <p:cNvPr id="14" name="Group 13"/>
          <p:cNvGrpSpPr/>
          <p:nvPr/>
        </p:nvGrpSpPr>
        <p:grpSpPr>
          <a:xfrm>
            <a:off x="5149756" y="2450"/>
            <a:ext cx="7060713" cy="6860165"/>
            <a:chOff x="2088634" y="1836"/>
            <a:chExt cx="7057105" cy="6856659"/>
          </a:xfrm>
        </p:grpSpPr>
        <p:sp>
          <p:nvSpPr>
            <p:cNvPr id="15" name="Freeform 14"/>
            <p:cNvSpPr/>
            <p:nvPr userDrawn="1"/>
          </p:nvSpPr>
          <p:spPr>
            <a:xfrm rot="10800000" flipV="1">
              <a:off x="2765729" y="1836"/>
              <a:ext cx="6377472" cy="4012978"/>
            </a:xfrm>
            <a:custGeom>
              <a:avLst/>
              <a:gdLst>
                <a:gd name="connsiteX0" fmla="*/ 3573556 w 3573556"/>
                <a:gd name="connsiteY0" fmla="*/ 1801906 h 2844053"/>
                <a:gd name="connsiteX1" fmla="*/ 0 w 3573556"/>
                <a:gd name="connsiteY1" fmla="*/ 0 h 2844053"/>
                <a:gd name="connsiteX2" fmla="*/ 6724 w 3573556"/>
                <a:gd name="connsiteY2" fmla="*/ 2844053 h 2844053"/>
                <a:gd name="connsiteX3" fmla="*/ 3573556 w 3573556"/>
                <a:gd name="connsiteY3" fmla="*/ 1801906 h 2844053"/>
                <a:gd name="connsiteX0" fmla="*/ 3603812 w 3603812"/>
                <a:gd name="connsiteY0" fmla="*/ 1725470 h 2844053"/>
                <a:gd name="connsiteX1" fmla="*/ 0 w 3603812"/>
                <a:gd name="connsiteY1" fmla="*/ 0 h 2844053"/>
                <a:gd name="connsiteX2" fmla="*/ 6724 w 3603812"/>
                <a:gd name="connsiteY2" fmla="*/ 2844053 h 2844053"/>
                <a:gd name="connsiteX3" fmla="*/ 3603812 w 3603812"/>
                <a:gd name="connsiteY3" fmla="*/ 1725470 h 2844053"/>
                <a:gd name="connsiteX0" fmla="*/ 3603812 w 3603812"/>
                <a:gd name="connsiteY0" fmla="*/ 1725470 h 2844053"/>
                <a:gd name="connsiteX1" fmla="*/ 0 w 3603812"/>
                <a:gd name="connsiteY1" fmla="*/ 0 h 2844053"/>
                <a:gd name="connsiteX2" fmla="*/ 6724 w 3603812"/>
                <a:gd name="connsiteY2" fmla="*/ 2844053 h 2844053"/>
                <a:gd name="connsiteX3" fmla="*/ 3603812 w 3603812"/>
                <a:gd name="connsiteY3" fmla="*/ 1725470 h 2844053"/>
                <a:gd name="connsiteX0" fmla="*/ 3603812 w 3603812"/>
                <a:gd name="connsiteY0" fmla="*/ 1719100 h 2837683"/>
                <a:gd name="connsiteX1" fmla="*/ 0 w 3603812"/>
                <a:gd name="connsiteY1" fmla="*/ 0 h 2837683"/>
                <a:gd name="connsiteX2" fmla="*/ 6724 w 3603812"/>
                <a:gd name="connsiteY2" fmla="*/ 2837683 h 2837683"/>
                <a:gd name="connsiteX3" fmla="*/ 3603812 w 3603812"/>
                <a:gd name="connsiteY3" fmla="*/ 1719100 h 2837683"/>
                <a:gd name="connsiteX0" fmla="*/ 3603812 w 3603812"/>
                <a:gd name="connsiteY0" fmla="*/ 1719100 h 2837683"/>
                <a:gd name="connsiteX1" fmla="*/ 0 w 3603812"/>
                <a:gd name="connsiteY1" fmla="*/ 0 h 2837683"/>
                <a:gd name="connsiteX2" fmla="*/ 6724 w 3603812"/>
                <a:gd name="connsiteY2" fmla="*/ 2837683 h 2837683"/>
                <a:gd name="connsiteX3" fmla="*/ 3603812 w 3603812"/>
                <a:gd name="connsiteY3" fmla="*/ 1719100 h 2837683"/>
                <a:gd name="connsiteX0" fmla="*/ 3659796 w 3659796"/>
                <a:gd name="connsiteY0" fmla="*/ 1783924 h 2837683"/>
                <a:gd name="connsiteX1" fmla="*/ 0 w 3659796"/>
                <a:gd name="connsiteY1" fmla="*/ 0 h 2837683"/>
                <a:gd name="connsiteX2" fmla="*/ 6724 w 3659796"/>
                <a:gd name="connsiteY2" fmla="*/ 2837683 h 2837683"/>
                <a:gd name="connsiteX3" fmla="*/ 3659796 w 3659796"/>
                <a:gd name="connsiteY3" fmla="*/ 1783924 h 2837683"/>
                <a:gd name="connsiteX0" fmla="*/ 3659796 w 3659796"/>
                <a:gd name="connsiteY0" fmla="*/ 1783924 h 2835771"/>
                <a:gd name="connsiteX1" fmla="*/ 0 w 3659796"/>
                <a:gd name="connsiteY1" fmla="*/ 0 h 2835771"/>
                <a:gd name="connsiteX2" fmla="*/ 3698 w 3659796"/>
                <a:gd name="connsiteY2" fmla="*/ 2835771 h 2835771"/>
                <a:gd name="connsiteX3" fmla="*/ 3659796 w 3659796"/>
                <a:gd name="connsiteY3" fmla="*/ 1783924 h 2835771"/>
                <a:gd name="connsiteX0" fmla="*/ 3659796 w 3687181"/>
                <a:gd name="connsiteY0" fmla="*/ 1886116 h 2937963"/>
                <a:gd name="connsiteX1" fmla="*/ 1590719 w 3687181"/>
                <a:gd name="connsiteY1" fmla="*/ 744248 h 2937963"/>
                <a:gd name="connsiteX2" fmla="*/ 0 w 3687181"/>
                <a:gd name="connsiteY2" fmla="*/ 102192 h 2937963"/>
                <a:gd name="connsiteX3" fmla="*/ 3698 w 3687181"/>
                <a:gd name="connsiteY3" fmla="*/ 2937963 h 2937963"/>
                <a:gd name="connsiteX4" fmla="*/ 3659796 w 3687181"/>
                <a:gd name="connsiteY4" fmla="*/ 1886116 h 2937963"/>
                <a:gd name="connsiteX0" fmla="*/ 3656139 w 3683524"/>
                <a:gd name="connsiteY0" fmla="*/ 1301371 h 2353218"/>
                <a:gd name="connsiteX1" fmla="*/ 1587062 w 3683524"/>
                <a:gd name="connsiteY1" fmla="*/ 159503 h 2353218"/>
                <a:gd name="connsiteX2" fmla="*/ 86287 w 3683524"/>
                <a:gd name="connsiteY2" fmla="*/ 373101 h 2353218"/>
                <a:gd name="connsiteX3" fmla="*/ 41 w 3683524"/>
                <a:gd name="connsiteY3" fmla="*/ 2353218 h 2353218"/>
                <a:gd name="connsiteX4" fmla="*/ 3656139 w 3683524"/>
                <a:gd name="connsiteY4" fmla="*/ 1301371 h 2353218"/>
                <a:gd name="connsiteX0" fmla="*/ 3656739 w 3684124"/>
                <a:gd name="connsiteY0" fmla="*/ 1383295 h 2435142"/>
                <a:gd name="connsiteX1" fmla="*/ 1587662 w 3684124"/>
                <a:gd name="connsiteY1" fmla="*/ 241427 h 2435142"/>
                <a:gd name="connsiteX2" fmla="*/ 690 w 3684124"/>
                <a:gd name="connsiteY2" fmla="*/ 256201 h 2435142"/>
                <a:gd name="connsiteX3" fmla="*/ 641 w 3684124"/>
                <a:gd name="connsiteY3" fmla="*/ 2435142 h 2435142"/>
                <a:gd name="connsiteX4" fmla="*/ 3656739 w 3684124"/>
                <a:gd name="connsiteY4" fmla="*/ 1383295 h 2435142"/>
                <a:gd name="connsiteX0" fmla="*/ 3656739 w 3684124"/>
                <a:gd name="connsiteY0" fmla="*/ 1269523 h 2321370"/>
                <a:gd name="connsiteX1" fmla="*/ 1587662 w 3684124"/>
                <a:gd name="connsiteY1" fmla="*/ 127655 h 2321370"/>
                <a:gd name="connsiteX2" fmla="*/ 690 w 3684124"/>
                <a:gd name="connsiteY2" fmla="*/ 142429 h 2321370"/>
                <a:gd name="connsiteX3" fmla="*/ 641 w 3684124"/>
                <a:gd name="connsiteY3" fmla="*/ 2321370 h 2321370"/>
                <a:gd name="connsiteX4" fmla="*/ 3656739 w 3684124"/>
                <a:gd name="connsiteY4" fmla="*/ 1269523 h 2321370"/>
                <a:gd name="connsiteX0" fmla="*/ 3656739 w 3684124"/>
                <a:gd name="connsiteY0" fmla="*/ 1141868 h 2193715"/>
                <a:gd name="connsiteX1" fmla="*/ 1587662 w 3684124"/>
                <a:gd name="connsiteY1" fmla="*/ 0 h 2193715"/>
                <a:gd name="connsiteX2" fmla="*/ 690 w 3684124"/>
                <a:gd name="connsiteY2" fmla="*/ 14774 h 2193715"/>
                <a:gd name="connsiteX3" fmla="*/ 641 w 3684124"/>
                <a:gd name="connsiteY3" fmla="*/ 2193715 h 2193715"/>
                <a:gd name="connsiteX4" fmla="*/ 3656739 w 3684124"/>
                <a:gd name="connsiteY4" fmla="*/ 1141868 h 2193715"/>
                <a:gd name="connsiteX0" fmla="*/ 3656739 w 3656739"/>
                <a:gd name="connsiteY0" fmla="*/ 1141868 h 2193715"/>
                <a:gd name="connsiteX1" fmla="*/ 1587662 w 3656739"/>
                <a:gd name="connsiteY1" fmla="*/ 0 h 2193715"/>
                <a:gd name="connsiteX2" fmla="*/ 690 w 3656739"/>
                <a:gd name="connsiteY2" fmla="*/ 14774 h 2193715"/>
                <a:gd name="connsiteX3" fmla="*/ 641 w 3656739"/>
                <a:gd name="connsiteY3" fmla="*/ 2193715 h 2193715"/>
                <a:gd name="connsiteX4" fmla="*/ 3656739 w 3656739"/>
                <a:gd name="connsiteY4" fmla="*/ 1141868 h 2193715"/>
                <a:gd name="connsiteX0" fmla="*/ 3656739 w 3656739"/>
                <a:gd name="connsiteY0" fmla="*/ 1127094 h 2178941"/>
                <a:gd name="connsiteX1" fmla="*/ 1600640 w 3656739"/>
                <a:gd name="connsiteY1" fmla="*/ 155 h 2178941"/>
                <a:gd name="connsiteX2" fmla="*/ 690 w 3656739"/>
                <a:gd name="connsiteY2" fmla="*/ 0 h 2178941"/>
                <a:gd name="connsiteX3" fmla="*/ 641 w 3656739"/>
                <a:gd name="connsiteY3" fmla="*/ 2178941 h 2178941"/>
                <a:gd name="connsiteX4" fmla="*/ 3656739 w 3656739"/>
                <a:gd name="connsiteY4" fmla="*/ 1127094 h 2178941"/>
                <a:gd name="connsiteX0" fmla="*/ 3656739 w 3656739"/>
                <a:gd name="connsiteY0" fmla="*/ 1129574 h 2181421"/>
                <a:gd name="connsiteX1" fmla="*/ 1600640 w 3656739"/>
                <a:gd name="connsiteY1" fmla="*/ 0 h 2181421"/>
                <a:gd name="connsiteX2" fmla="*/ 690 w 3656739"/>
                <a:gd name="connsiteY2" fmla="*/ 2480 h 2181421"/>
                <a:gd name="connsiteX3" fmla="*/ 641 w 3656739"/>
                <a:gd name="connsiteY3" fmla="*/ 2181421 h 2181421"/>
                <a:gd name="connsiteX4" fmla="*/ 3656739 w 3656739"/>
                <a:gd name="connsiteY4" fmla="*/ 1129574 h 2181421"/>
                <a:gd name="connsiteX0" fmla="*/ 3656650 w 3656650"/>
                <a:gd name="connsiteY0" fmla="*/ 1129574 h 2181421"/>
                <a:gd name="connsiteX1" fmla="*/ 1600551 w 3656650"/>
                <a:gd name="connsiteY1" fmla="*/ 0 h 2181421"/>
                <a:gd name="connsiteX2" fmla="*/ 1528 w 3656650"/>
                <a:gd name="connsiteY2" fmla="*/ 2480 h 2181421"/>
                <a:gd name="connsiteX3" fmla="*/ 552 w 3656650"/>
                <a:gd name="connsiteY3" fmla="*/ 2181421 h 2181421"/>
                <a:gd name="connsiteX4" fmla="*/ 3656650 w 3656650"/>
                <a:gd name="connsiteY4" fmla="*/ 1129574 h 2181421"/>
                <a:gd name="connsiteX0" fmla="*/ 3657167 w 3657167"/>
                <a:gd name="connsiteY0" fmla="*/ 1129574 h 2181421"/>
                <a:gd name="connsiteX1" fmla="*/ 1601068 w 3657167"/>
                <a:gd name="connsiteY1" fmla="*/ 0 h 2181421"/>
                <a:gd name="connsiteX2" fmla="*/ 2045 w 3657167"/>
                <a:gd name="connsiteY2" fmla="*/ 2480 h 2181421"/>
                <a:gd name="connsiteX3" fmla="*/ 1069 w 3657167"/>
                <a:gd name="connsiteY3" fmla="*/ 2181421 h 2181421"/>
                <a:gd name="connsiteX4" fmla="*/ 3657167 w 3657167"/>
                <a:gd name="connsiteY4" fmla="*/ 1129574 h 2181421"/>
                <a:gd name="connsiteX0" fmla="*/ 3659337 w 3659337"/>
                <a:gd name="connsiteY0" fmla="*/ 1129574 h 2181421"/>
                <a:gd name="connsiteX1" fmla="*/ 1603238 w 3659337"/>
                <a:gd name="connsiteY1" fmla="*/ 0 h 2181421"/>
                <a:gd name="connsiteX2" fmla="*/ 507 w 3659337"/>
                <a:gd name="connsiteY2" fmla="*/ 724 h 2181421"/>
                <a:gd name="connsiteX3" fmla="*/ 3239 w 3659337"/>
                <a:gd name="connsiteY3" fmla="*/ 2181421 h 2181421"/>
                <a:gd name="connsiteX4" fmla="*/ 3659337 w 3659337"/>
                <a:gd name="connsiteY4" fmla="*/ 1129574 h 2181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9337" h="2181421">
                  <a:moveTo>
                    <a:pt x="3659337" y="1129574"/>
                  </a:moveTo>
                  <a:cubicBezTo>
                    <a:pt x="2653378" y="444416"/>
                    <a:pt x="2213204" y="297321"/>
                    <a:pt x="1603238" y="0"/>
                  </a:cubicBezTo>
                  <a:lnTo>
                    <a:pt x="507" y="724"/>
                  </a:lnTo>
                  <a:cubicBezTo>
                    <a:pt x="-960" y="399868"/>
                    <a:pt x="998" y="1233403"/>
                    <a:pt x="3239" y="2181421"/>
                  </a:cubicBezTo>
                  <a:lnTo>
                    <a:pt x="3659337" y="1129574"/>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44" dirty="0"/>
            </a:p>
          </p:txBody>
        </p:sp>
        <p:sp>
          <p:nvSpPr>
            <p:cNvPr id="16" name="Freeform 15"/>
            <p:cNvSpPr/>
            <p:nvPr userDrawn="1"/>
          </p:nvSpPr>
          <p:spPr>
            <a:xfrm rot="10800000" flipV="1">
              <a:off x="2088634" y="1741246"/>
              <a:ext cx="7057105" cy="5117249"/>
            </a:xfrm>
            <a:custGeom>
              <a:avLst/>
              <a:gdLst>
                <a:gd name="connsiteX0" fmla="*/ 3560164 w 3560164"/>
                <a:gd name="connsiteY0" fmla="*/ 2885606 h 2885606"/>
                <a:gd name="connsiteX1" fmla="*/ 0 w 3560164"/>
                <a:gd name="connsiteY1" fmla="*/ 2848131 h 2885606"/>
                <a:gd name="connsiteX2" fmla="*/ 14990 w 3560164"/>
                <a:gd name="connsiteY2" fmla="*/ 517160 h 2885606"/>
                <a:gd name="connsiteX3" fmla="*/ 314793 w 3560164"/>
                <a:gd name="connsiteY3" fmla="*/ 929390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378666 w 3560164"/>
                <a:gd name="connsiteY3" fmla="*/ 1531146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3168208 h 3168208"/>
                <a:gd name="connsiteX1" fmla="*/ 0 w 3560164"/>
                <a:gd name="connsiteY1" fmla="*/ 3130733 h 3168208"/>
                <a:gd name="connsiteX2" fmla="*/ 14990 w 3560164"/>
                <a:gd name="connsiteY2" fmla="*/ 799762 h 3168208"/>
                <a:gd name="connsiteX3" fmla="*/ 297984 w 3560164"/>
                <a:gd name="connsiteY3" fmla="*/ 1201906 h 3168208"/>
                <a:gd name="connsiteX4" fmla="*/ 3515193 w 3560164"/>
                <a:gd name="connsiteY4" fmla="*/ 282602 h 3168208"/>
                <a:gd name="connsiteX5" fmla="*/ 3560164 w 3560164"/>
                <a:gd name="connsiteY5" fmla="*/ 3168208 h 3168208"/>
                <a:gd name="connsiteX0" fmla="*/ 3560164 w 3995016"/>
                <a:gd name="connsiteY0" fmla="*/ 3066756 h 3066756"/>
                <a:gd name="connsiteX1" fmla="*/ 0 w 3995016"/>
                <a:gd name="connsiteY1" fmla="*/ 3029281 h 3066756"/>
                <a:gd name="connsiteX2" fmla="*/ 14990 w 3995016"/>
                <a:gd name="connsiteY2" fmla="*/ 698310 h 3066756"/>
                <a:gd name="connsiteX3" fmla="*/ 297984 w 3995016"/>
                <a:gd name="connsiteY3" fmla="*/ 1100454 h 3066756"/>
                <a:gd name="connsiteX4" fmla="*/ 3515193 w 3995016"/>
                <a:gd name="connsiteY4" fmla="*/ 181150 h 3066756"/>
                <a:gd name="connsiteX5" fmla="*/ 3560164 w 3995016"/>
                <a:gd name="connsiteY5" fmla="*/ 3066756 h 3066756"/>
                <a:gd name="connsiteX0" fmla="*/ 3560164 w 4081667"/>
                <a:gd name="connsiteY0" fmla="*/ 3066756 h 3066756"/>
                <a:gd name="connsiteX1" fmla="*/ 0 w 4081667"/>
                <a:gd name="connsiteY1" fmla="*/ 3029281 h 3066756"/>
                <a:gd name="connsiteX2" fmla="*/ 14990 w 4081667"/>
                <a:gd name="connsiteY2" fmla="*/ 698310 h 3066756"/>
                <a:gd name="connsiteX3" fmla="*/ 297984 w 4081667"/>
                <a:gd name="connsiteY3" fmla="*/ 1100454 h 3066756"/>
                <a:gd name="connsiteX4" fmla="*/ 3515193 w 4081667"/>
                <a:gd name="connsiteY4" fmla="*/ 181150 h 3066756"/>
                <a:gd name="connsiteX5" fmla="*/ 3560164 w 4081667"/>
                <a:gd name="connsiteY5" fmla="*/ 3066756 h 3066756"/>
                <a:gd name="connsiteX0" fmla="*/ 3560164 w 3972124"/>
                <a:gd name="connsiteY0" fmla="*/ 2986772 h 2986772"/>
                <a:gd name="connsiteX1" fmla="*/ 0 w 3972124"/>
                <a:gd name="connsiteY1" fmla="*/ 2949297 h 2986772"/>
                <a:gd name="connsiteX2" fmla="*/ 14990 w 3972124"/>
                <a:gd name="connsiteY2" fmla="*/ 618326 h 2986772"/>
                <a:gd name="connsiteX3" fmla="*/ 297984 w 3972124"/>
                <a:gd name="connsiteY3" fmla="*/ 1020470 h 2986772"/>
                <a:gd name="connsiteX4" fmla="*/ 3515193 w 3972124"/>
                <a:gd name="connsiteY4" fmla="*/ 101166 h 2986772"/>
                <a:gd name="connsiteX5" fmla="*/ 3560164 w 3972124"/>
                <a:gd name="connsiteY5" fmla="*/ 2986772 h 2986772"/>
                <a:gd name="connsiteX0" fmla="*/ 3560164 w 3851466"/>
                <a:gd name="connsiteY0" fmla="*/ 2932294 h 2932294"/>
                <a:gd name="connsiteX1" fmla="*/ 0 w 3851466"/>
                <a:gd name="connsiteY1" fmla="*/ 2894819 h 2932294"/>
                <a:gd name="connsiteX2" fmla="*/ 14990 w 3851466"/>
                <a:gd name="connsiteY2" fmla="*/ 563848 h 2932294"/>
                <a:gd name="connsiteX3" fmla="*/ 297984 w 3851466"/>
                <a:gd name="connsiteY3" fmla="*/ 965992 h 2932294"/>
                <a:gd name="connsiteX4" fmla="*/ 3515193 w 3851466"/>
                <a:gd name="connsiteY4" fmla="*/ 46688 h 2932294"/>
                <a:gd name="connsiteX5" fmla="*/ 3560164 w 3851466"/>
                <a:gd name="connsiteY5" fmla="*/ 2932294 h 2932294"/>
                <a:gd name="connsiteX0" fmla="*/ 3560164 w 3851466"/>
                <a:gd name="connsiteY0" fmla="*/ 2923744 h 2923744"/>
                <a:gd name="connsiteX1" fmla="*/ 0 w 3851466"/>
                <a:gd name="connsiteY1" fmla="*/ 2886269 h 2923744"/>
                <a:gd name="connsiteX2" fmla="*/ 14990 w 3851466"/>
                <a:gd name="connsiteY2" fmla="*/ 555298 h 2923744"/>
                <a:gd name="connsiteX3" fmla="*/ 297984 w 3851466"/>
                <a:gd name="connsiteY3" fmla="*/ 957442 h 2923744"/>
                <a:gd name="connsiteX4" fmla="*/ 3515193 w 3851466"/>
                <a:gd name="connsiteY4" fmla="*/ 38138 h 2923744"/>
                <a:gd name="connsiteX5" fmla="*/ 3560164 w 3851466"/>
                <a:gd name="connsiteY5" fmla="*/ 2923744 h 2923744"/>
                <a:gd name="connsiteX0" fmla="*/ 3560164 w 3868339"/>
                <a:gd name="connsiteY0" fmla="*/ 2887665 h 2887665"/>
                <a:gd name="connsiteX1" fmla="*/ 0 w 3868339"/>
                <a:gd name="connsiteY1" fmla="*/ 2850190 h 2887665"/>
                <a:gd name="connsiteX2" fmla="*/ 14990 w 3868339"/>
                <a:gd name="connsiteY2" fmla="*/ 519219 h 2887665"/>
                <a:gd name="connsiteX3" fmla="*/ 297984 w 3868339"/>
                <a:gd name="connsiteY3" fmla="*/ 921363 h 2887665"/>
                <a:gd name="connsiteX4" fmla="*/ 3545449 w 3868339"/>
                <a:gd name="connsiteY4" fmla="*/ 39038 h 2887665"/>
                <a:gd name="connsiteX5" fmla="*/ 3560164 w 3868339"/>
                <a:gd name="connsiteY5" fmla="*/ 2887665 h 2887665"/>
                <a:gd name="connsiteX0" fmla="*/ 3560164 w 4050446"/>
                <a:gd name="connsiteY0" fmla="*/ 2944210 h 2944210"/>
                <a:gd name="connsiteX1" fmla="*/ 0 w 4050446"/>
                <a:gd name="connsiteY1" fmla="*/ 2906735 h 2944210"/>
                <a:gd name="connsiteX2" fmla="*/ 14990 w 4050446"/>
                <a:gd name="connsiteY2" fmla="*/ 575764 h 2944210"/>
                <a:gd name="connsiteX3" fmla="*/ 297984 w 4050446"/>
                <a:gd name="connsiteY3" fmla="*/ 977908 h 2944210"/>
                <a:gd name="connsiteX4" fmla="*/ 3545449 w 4050446"/>
                <a:gd name="connsiteY4" fmla="*/ 95583 h 2944210"/>
                <a:gd name="connsiteX5" fmla="*/ 3560164 w 4050446"/>
                <a:gd name="connsiteY5" fmla="*/ 2944210 h 2944210"/>
                <a:gd name="connsiteX0" fmla="*/ 3560164 w 3989640"/>
                <a:gd name="connsiteY0" fmla="*/ 2924406 h 2924406"/>
                <a:gd name="connsiteX1" fmla="*/ 0 w 3989640"/>
                <a:gd name="connsiteY1" fmla="*/ 2886931 h 2924406"/>
                <a:gd name="connsiteX2" fmla="*/ 14990 w 3989640"/>
                <a:gd name="connsiteY2" fmla="*/ 555960 h 2924406"/>
                <a:gd name="connsiteX3" fmla="*/ 297984 w 3989640"/>
                <a:gd name="connsiteY3" fmla="*/ 958104 h 2924406"/>
                <a:gd name="connsiteX4" fmla="*/ 3545449 w 3989640"/>
                <a:gd name="connsiteY4" fmla="*/ 75779 h 2924406"/>
                <a:gd name="connsiteX5" fmla="*/ 3560164 w 3989640"/>
                <a:gd name="connsiteY5" fmla="*/ 2924406 h 2924406"/>
                <a:gd name="connsiteX0" fmla="*/ 3560164 w 4014175"/>
                <a:gd name="connsiteY0" fmla="*/ 2948316 h 2948316"/>
                <a:gd name="connsiteX1" fmla="*/ 0 w 4014175"/>
                <a:gd name="connsiteY1" fmla="*/ 2910841 h 2948316"/>
                <a:gd name="connsiteX2" fmla="*/ 14990 w 4014175"/>
                <a:gd name="connsiteY2" fmla="*/ 579870 h 2948316"/>
                <a:gd name="connsiteX3" fmla="*/ 297984 w 4014175"/>
                <a:gd name="connsiteY3" fmla="*/ 982014 h 2948316"/>
                <a:gd name="connsiteX4" fmla="*/ 3545449 w 4014175"/>
                <a:gd name="connsiteY4" fmla="*/ 99689 h 2948316"/>
                <a:gd name="connsiteX5" fmla="*/ 3560164 w 4014175"/>
                <a:gd name="connsiteY5" fmla="*/ 2948316 h 2948316"/>
                <a:gd name="connsiteX0" fmla="*/ 3560164 w 4014175"/>
                <a:gd name="connsiteY0" fmla="*/ 2946856 h 2946856"/>
                <a:gd name="connsiteX1" fmla="*/ 0 w 4014175"/>
                <a:gd name="connsiteY1" fmla="*/ 2909381 h 2946856"/>
                <a:gd name="connsiteX2" fmla="*/ 14990 w 4014175"/>
                <a:gd name="connsiteY2" fmla="*/ 578410 h 2946856"/>
                <a:gd name="connsiteX3" fmla="*/ 297984 w 4014175"/>
                <a:gd name="connsiteY3" fmla="*/ 980554 h 2946856"/>
                <a:gd name="connsiteX4" fmla="*/ 3545449 w 4014175"/>
                <a:gd name="connsiteY4" fmla="*/ 98229 h 2946856"/>
                <a:gd name="connsiteX5" fmla="*/ 3560164 w 4014175"/>
                <a:gd name="connsiteY5" fmla="*/ 2946856 h 2946856"/>
                <a:gd name="connsiteX0" fmla="*/ 3583696 w 3892754"/>
                <a:gd name="connsiteY0" fmla="*/ 2889822 h 2889822"/>
                <a:gd name="connsiteX1" fmla="*/ 0 w 3892754"/>
                <a:gd name="connsiteY1" fmla="*/ 2859071 h 2889822"/>
                <a:gd name="connsiteX2" fmla="*/ 14990 w 3892754"/>
                <a:gd name="connsiteY2" fmla="*/ 528100 h 2889822"/>
                <a:gd name="connsiteX3" fmla="*/ 297984 w 3892754"/>
                <a:gd name="connsiteY3" fmla="*/ 930244 h 2889822"/>
                <a:gd name="connsiteX4" fmla="*/ 3545449 w 3892754"/>
                <a:gd name="connsiteY4" fmla="*/ 47919 h 2889822"/>
                <a:gd name="connsiteX5" fmla="*/ 3583696 w 3892754"/>
                <a:gd name="connsiteY5" fmla="*/ 2889822 h 2889822"/>
                <a:gd name="connsiteX0" fmla="*/ 3583696 w 4065589"/>
                <a:gd name="connsiteY0" fmla="*/ 2889822 h 2889822"/>
                <a:gd name="connsiteX1" fmla="*/ 0 w 4065589"/>
                <a:gd name="connsiteY1" fmla="*/ 2859071 h 2889822"/>
                <a:gd name="connsiteX2" fmla="*/ 14990 w 4065589"/>
                <a:gd name="connsiteY2" fmla="*/ 528100 h 2889822"/>
                <a:gd name="connsiteX3" fmla="*/ 297984 w 4065589"/>
                <a:gd name="connsiteY3" fmla="*/ 930244 h 2889822"/>
                <a:gd name="connsiteX4" fmla="*/ 3545449 w 4065589"/>
                <a:gd name="connsiteY4" fmla="*/ 47919 h 2889822"/>
                <a:gd name="connsiteX5" fmla="*/ 3583696 w 4065589"/>
                <a:gd name="connsiteY5" fmla="*/ 2889822 h 2889822"/>
                <a:gd name="connsiteX0" fmla="*/ 3583696 w 4193107"/>
                <a:gd name="connsiteY0" fmla="*/ 2939141 h 2939141"/>
                <a:gd name="connsiteX1" fmla="*/ 0 w 4193107"/>
                <a:gd name="connsiteY1" fmla="*/ 2908390 h 2939141"/>
                <a:gd name="connsiteX2" fmla="*/ 14990 w 4193107"/>
                <a:gd name="connsiteY2" fmla="*/ 577419 h 2939141"/>
                <a:gd name="connsiteX3" fmla="*/ 297984 w 4193107"/>
                <a:gd name="connsiteY3" fmla="*/ 979563 h 2939141"/>
                <a:gd name="connsiteX4" fmla="*/ 3545449 w 4193107"/>
                <a:gd name="connsiteY4" fmla="*/ 97238 h 2939141"/>
                <a:gd name="connsiteX5" fmla="*/ 3583696 w 4193107"/>
                <a:gd name="connsiteY5" fmla="*/ 2939141 h 2939141"/>
                <a:gd name="connsiteX0" fmla="*/ 3583696 w 4066579"/>
                <a:gd name="connsiteY0" fmla="*/ 2939141 h 2939141"/>
                <a:gd name="connsiteX1" fmla="*/ 0 w 4066579"/>
                <a:gd name="connsiteY1" fmla="*/ 2908390 h 2939141"/>
                <a:gd name="connsiteX2" fmla="*/ 14990 w 4066579"/>
                <a:gd name="connsiteY2" fmla="*/ 577419 h 2939141"/>
                <a:gd name="connsiteX3" fmla="*/ 297984 w 4066579"/>
                <a:gd name="connsiteY3" fmla="*/ 979563 h 2939141"/>
                <a:gd name="connsiteX4" fmla="*/ 3545449 w 4066579"/>
                <a:gd name="connsiteY4" fmla="*/ 97238 h 2939141"/>
                <a:gd name="connsiteX5" fmla="*/ 3583696 w 4066579"/>
                <a:gd name="connsiteY5" fmla="*/ 2939141 h 2939141"/>
                <a:gd name="connsiteX0" fmla="*/ 3583696 w 4058392"/>
                <a:gd name="connsiteY0" fmla="*/ 2935948 h 2935948"/>
                <a:gd name="connsiteX1" fmla="*/ 0 w 4058392"/>
                <a:gd name="connsiteY1" fmla="*/ 2905197 h 2935948"/>
                <a:gd name="connsiteX2" fmla="*/ 14990 w 4058392"/>
                <a:gd name="connsiteY2" fmla="*/ 574226 h 2935948"/>
                <a:gd name="connsiteX3" fmla="*/ 297984 w 4058392"/>
                <a:gd name="connsiteY3" fmla="*/ 976370 h 2935948"/>
                <a:gd name="connsiteX4" fmla="*/ 3532002 w 4058392"/>
                <a:gd name="connsiteY4" fmla="*/ 97407 h 2935948"/>
                <a:gd name="connsiteX5" fmla="*/ 3583696 w 4058392"/>
                <a:gd name="connsiteY5" fmla="*/ 2935948 h 2935948"/>
                <a:gd name="connsiteX0" fmla="*/ 3578226 w 4052922"/>
                <a:gd name="connsiteY0" fmla="*/ 2935948 h 2935948"/>
                <a:gd name="connsiteX1" fmla="*/ 0 w 4052922"/>
                <a:gd name="connsiteY1" fmla="*/ 2927075 h 2935948"/>
                <a:gd name="connsiteX2" fmla="*/ 9520 w 4052922"/>
                <a:gd name="connsiteY2" fmla="*/ 574226 h 2935948"/>
                <a:gd name="connsiteX3" fmla="*/ 292514 w 4052922"/>
                <a:gd name="connsiteY3" fmla="*/ 976370 h 2935948"/>
                <a:gd name="connsiteX4" fmla="*/ 3526532 w 4052922"/>
                <a:gd name="connsiteY4" fmla="*/ 97407 h 2935948"/>
                <a:gd name="connsiteX5" fmla="*/ 3578226 w 4052922"/>
                <a:gd name="connsiteY5" fmla="*/ 2935948 h 2935948"/>
                <a:gd name="connsiteX0" fmla="*/ 3578226 w 4052922"/>
                <a:gd name="connsiteY0" fmla="*/ 2935948 h 2935948"/>
                <a:gd name="connsiteX1" fmla="*/ 0 w 4052922"/>
                <a:gd name="connsiteY1" fmla="*/ 2927075 h 2935948"/>
                <a:gd name="connsiteX2" fmla="*/ 9520 w 4052922"/>
                <a:gd name="connsiteY2" fmla="*/ 574226 h 2935948"/>
                <a:gd name="connsiteX3" fmla="*/ 292514 w 4052922"/>
                <a:gd name="connsiteY3" fmla="*/ 976370 h 2935948"/>
                <a:gd name="connsiteX4" fmla="*/ 3526532 w 4052922"/>
                <a:gd name="connsiteY4" fmla="*/ 97407 h 2935948"/>
                <a:gd name="connsiteX5" fmla="*/ 3578226 w 4052922"/>
                <a:gd name="connsiteY5" fmla="*/ 2935948 h 2935948"/>
                <a:gd name="connsiteX0" fmla="*/ 3571087 w 4045783"/>
                <a:gd name="connsiteY0" fmla="*/ 2935948 h 2935948"/>
                <a:gd name="connsiteX1" fmla="*/ 0 w 4045783"/>
                <a:gd name="connsiteY1" fmla="*/ 2934213 h 2935948"/>
                <a:gd name="connsiteX2" fmla="*/ 2381 w 4045783"/>
                <a:gd name="connsiteY2" fmla="*/ 574226 h 2935948"/>
                <a:gd name="connsiteX3" fmla="*/ 285375 w 4045783"/>
                <a:gd name="connsiteY3" fmla="*/ 976370 h 2935948"/>
                <a:gd name="connsiteX4" fmla="*/ 3519393 w 4045783"/>
                <a:gd name="connsiteY4" fmla="*/ 97407 h 2935948"/>
                <a:gd name="connsiteX5" fmla="*/ 3571087 w 4045783"/>
                <a:gd name="connsiteY5" fmla="*/ 2935948 h 2935948"/>
                <a:gd name="connsiteX0" fmla="*/ 3570078 w 4044774"/>
                <a:gd name="connsiteY0" fmla="*/ 2935948 h 2935948"/>
                <a:gd name="connsiteX1" fmla="*/ 2018 w 4044774"/>
                <a:gd name="connsiteY1" fmla="*/ 2931187 h 2935948"/>
                <a:gd name="connsiteX2" fmla="*/ 1372 w 4044774"/>
                <a:gd name="connsiteY2" fmla="*/ 574226 h 2935948"/>
                <a:gd name="connsiteX3" fmla="*/ 284366 w 4044774"/>
                <a:gd name="connsiteY3" fmla="*/ 976370 h 2935948"/>
                <a:gd name="connsiteX4" fmla="*/ 3518384 w 4044774"/>
                <a:gd name="connsiteY4" fmla="*/ 97407 h 2935948"/>
                <a:gd name="connsiteX5" fmla="*/ 3570078 w 4044774"/>
                <a:gd name="connsiteY5" fmla="*/ 2935948 h 2935948"/>
                <a:gd name="connsiteX0" fmla="*/ 3571087 w 4045783"/>
                <a:gd name="connsiteY0" fmla="*/ 2935948 h 2936232"/>
                <a:gd name="connsiteX1" fmla="*/ 0 w 4045783"/>
                <a:gd name="connsiteY1" fmla="*/ 2936232 h 2936232"/>
                <a:gd name="connsiteX2" fmla="*/ 2381 w 4045783"/>
                <a:gd name="connsiteY2" fmla="*/ 574226 h 2936232"/>
                <a:gd name="connsiteX3" fmla="*/ 285375 w 4045783"/>
                <a:gd name="connsiteY3" fmla="*/ 976370 h 2936232"/>
                <a:gd name="connsiteX4" fmla="*/ 3519393 w 4045783"/>
                <a:gd name="connsiteY4" fmla="*/ 97407 h 2936232"/>
                <a:gd name="connsiteX5" fmla="*/ 3571087 w 4045783"/>
                <a:gd name="connsiteY5" fmla="*/ 2935948 h 2936232"/>
                <a:gd name="connsiteX0" fmla="*/ 3571789 w 4046485"/>
                <a:gd name="connsiteY0" fmla="*/ 2935948 h 2936232"/>
                <a:gd name="connsiteX1" fmla="*/ 702 w 4046485"/>
                <a:gd name="connsiteY1" fmla="*/ 2936232 h 2936232"/>
                <a:gd name="connsiteX2" fmla="*/ 3083 w 4046485"/>
                <a:gd name="connsiteY2" fmla="*/ 574226 h 2936232"/>
                <a:gd name="connsiteX3" fmla="*/ 286077 w 4046485"/>
                <a:gd name="connsiteY3" fmla="*/ 976370 h 2936232"/>
                <a:gd name="connsiteX4" fmla="*/ 3520095 w 4046485"/>
                <a:gd name="connsiteY4" fmla="*/ 97407 h 2936232"/>
                <a:gd name="connsiteX5" fmla="*/ 3571789 w 4046485"/>
                <a:gd name="connsiteY5" fmla="*/ 2935948 h 2936232"/>
                <a:gd name="connsiteX0" fmla="*/ 3574610 w 4049306"/>
                <a:gd name="connsiteY0" fmla="*/ 2935948 h 2936232"/>
                <a:gd name="connsiteX1" fmla="*/ 3523 w 4049306"/>
                <a:gd name="connsiteY1" fmla="*/ 2936232 h 2936232"/>
                <a:gd name="connsiteX2" fmla="*/ 1868 w 4049306"/>
                <a:gd name="connsiteY2" fmla="*/ 566154 h 2936232"/>
                <a:gd name="connsiteX3" fmla="*/ 288898 w 4049306"/>
                <a:gd name="connsiteY3" fmla="*/ 976370 h 2936232"/>
                <a:gd name="connsiteX4" fmla="*/ 3522916 w 4049306"/>
                <a:gd name="connsiteY4" fmla="*/ 97407 h 2936232"/>
                <a:gd name="connsiteX5" fmla="*/ 3574610 w 4049306"/>
                <a:gd name="connsiteY5" fmla="*/ 2935948 h 293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49306" h="2936232">
                  <a:moveTo>
                    <a:pt x="3574610" y="2935948"/>
                  </a:moveTo>
                  <a:lnTo>
                    <a:pt x="3523" y="2936232"/>
                  </a:lnTo>
                  <a:cubicBezTo>
                    <a:pt x="3475" y="2780779"/>
                    <a:pt x="-3129" y="1343144"/>
                    <a:pt x="1868" y="566154"/>
                  </a:cubicBezTo>
                  <a:lnTo>
                    <a:pt x="288898" y="976370"/>
                  </a:lnTo>
                  <a:cubicBezTo>
                    <a:pt x="1178186" y="1226354"/>
                    <a:pt x="2618950" y="-407363"/>
                    <a:pt x="3522916" y="97407"/>
                  </a:cubicBezTo>
                  <a:cubicBezTo>
                    <a:pt x="4426882" y="602177"/>
                    <a:pt x="3976479" y="2347234"/>
                    <a:pt x="3574610" y="2935948"/>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44" dirty="0"/>
            </a:p>
          </p:txBody>
        </p:sp>
      </p:grpSp>
      <p:sp>
        <p:nvSpPr>
          <p:cNvPr id="17"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543984" y="3578203"/>
            <a:ext cx="4605772" cy="1159933"/>
          </a:xfrm>
        </p:spPr>
        <p:txBody>
          <a:bodyPr lIns="0" tIns="0" rIns="0" bIns="0" anchor="b">
            <a:normAutofit/>
          </a:bodyPr>
          <a:lstStyle>
            <a:lvl1pPr marL="0" indent="0" algn="l">
              <a:lnSpc>
                <a:spcPct val="100000"/>
              </a:lnSpc>
              <a:buNone/>
              <a:defRPr sz="36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defRPr sz="2400">
                <a:solidFill>
                  <a:schemeClr val="bg1"/>
                </a:solidFill>
              </a:defRPr>
            </a:lvl2pPr>
          </a:lstStyle>
          <a:p>
            <a:pPr lvl="0"/>
            <a:r>
              <a:rPr lang="en-US"/>
              <a:t>Click to insert title</a:t>
            </a:r>
            <a:endParaRPr lang="pt-PT"/>
          </a:p>
        </p:txBody>
      </p:sp>
      <p:sp>
        <p:nvSpPr>
          <p:cNvPr id="19"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543983" y="4891485"/>
            <a:ext cx="3894591" cy="1595120"/>
          </a:xfrm>
        </p:spPr>
        <p:txBody>
          <a:bodyPr lIns="0" tIns="0" rIns="0" bIns="0">
            <a:normAutofit/>
          </a:bodyPr>
          <a:lstStyle>
            <a:lvl1pPr marL="0" indent="0" algn="l">
              <a:lnSpc>
                <a:spcPct val="100000"/>
              </a:lnSpc>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defRPr sz="1600">
                <a:solidFill>
                  <a:schemeClr val="bg1"/>
                </a:solidFill>
              </a:defRPr>
            </a:lvl2pPr>
          </a:lstStyle>
          <a:p>
            <a:pPr lvl="0"/>
            <a:r>
              <a:rPr lang="en-US"/>
              <a:t>Click to insert presenter, location, and date</a:t>
            </a:r>
            <a:endParaRPr lang="pt-PT"/>
          </a:p>
        </p:txBody>
      </p:sp>
      <p:pic>
        <p:nvPicPr>
          <p:cNvPr id="20"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3984" y="539751"/>
            <a:ext cx="3087429" cy="688815"/>
          </a:xfrm>
          <a:prstGeom prst="rect">
            <a:avLst/>
          </a:prstGeom>
        </p:spPr>
      </p:pic>
      <p:graphicFrame>
        <p:nvGraphicFramePr>
          <p:cNvPr id="5" name="Object 4" hidden="1"/>
          <p:cNvGraphicFramePr>
            <a:graphicFrameLocks noChangeAspect="1"/>
          </p:cNvGraphicFramePr>
          <p:nvPr>
            <p:custDataLst>
              <p:tags r:id="rId2"/>
            </p:custDataLst>
          </p:nvPr>
        </p:nvGraphicFramePr>
        <p:xfrm>
          <a:off x="1" y="1"/>
          <a:ext cx="195384" cy="158751"/>
        </p:xfrm>
        <a:graphic>
          <a:graphicData uri="http://schemas.openxmlformats.org/presentationml/2006/ole">
            <mc:AlternateContent xmlns:mc="http://schemas.openxmlformats.org/markup-compatibility/2006">
              <mc:Choice xmlns:v="urn:schemas-microsoft-com:vml" Requires="v">
                <p:oleObj spid="_x0000_s29698"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3" name="Straight Connector 2"/>
          <p:cNvCxnSpPr/>
          <p:nvPr/>
        </p:nvCxnSpPr>
        <p:spPr>
          <a:xfrm>
            <a:off x="3839360" y="539751"/>
            <a:ext cx="0" cy="478821"/>
          </a:xfrm>
          <a:prstGeom prst="line">
            <a:avLst/>
          </a:prstGeom>
          <a:ln w="1905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pic>
        <p:nvPicPr>
          <p:cNvPr id="13" name="Picture 12" descr="Image result for new jersey resources"/>
          <p:cNvPicPr/>
          <p:nvPr/>
        </p:nvPicPr>
        <p:blipFill>
          <a:blip r:embed="rId8">
            <a:extLst>
              <a:ext uri="{28A0092B-C50C-407E-A947-70E740481C1C}">
                <a14:useLocalDpi xmlns:a14="http://schemas.microsoft.com/office/drawing/2010/main" val="0"/>
              </a:ext>
            </a:extLst>
          </a:blip>
          <a:srcRect/>
          <a:stretch>
            <a:fillRect/>
          </a:stretch>
        </p:blipFill>
        <p:spPr bwMode="auto">
          <a:xfrm>
            <a:off x="4043700" y="468730"/>
            <a:ext cx="1850001" cy="612812"/>
          </a:xfrm>
          <a:prstGeom prst="rect">
            <a:avLst/>
          </a:prstGeom>
          <a:noFill/>
          <a:ln>
            <a:noFill/>
          </a:ln>
        </p:spPr>
      </p:pic>
    </p:spTree>
    <p:extLst>
      <p:ext uri="{BB962C8B-B14F-4D97-AF65-F5344CB8AC3E}">
        <p14:creationId xmlns:p14="http://schemas.microsoft.com/office/powerpoint/2010/main" val="134810805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Only_Gre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30722"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2400"/>
            </a:lvl1pPr>
          </a:lstStyle>
          <a:p>
            <a:r>
              <a:rPr lang="en-US" noProof="0" dirty="0"/>
              <a:t>Click to edit Master title style</a:t>
            </a:r>
            <a:endParaRPr lang="en-US" dirty="0"/>
          </a:p>
        </p:txBody>
      </p:sp>
    </p:spTree>
    <p:extLst>
      <p:ext uri="{BB962C8B-B14F-4D97-AF65-F5344CB8AC3E}">
        <p14:creationId xmlns:p14="http://schemas.microsoft.com/office/powerpoint/2010/main" val="169089023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0572078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3" name="Rectangle 22"/>
          <p:cNvSpPr/>
          <p:nvPr/>
        </p:nvSpPr>
        <p:spPr>
          <a:xfrm>
            <a:off x="1" y="0"/>
            <a:ext cx="175678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schemeClr val="tx2">
                  <a:lumMod val="50000"/>
                </a:schemeClr>
              </a:solidFill>
            </a:endParaRPr>
          </a:p>
        </p:txBody>
      </p:sp>
      <p:graphicFrame>
        <p:nvGraphicFramePr>
          <p:cNvPr id="2" name="Object 1"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31746"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p:cNvSpPr/>
          <p:nvPr/>
        </p:nvSpPr>
        <p:spPr>
          <a:xfrm>
            <a:off x="6657879" y="2524335"/>
            <a:ext cx="5213580" cy="19532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r>
              <a:rPr lang="en-US" sz="120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7 global revenues of EUR 12.8 billion (about $14.4 billion USD at 2017 average rate).</a:t>
            </a:r>
          </a:p>
        </p:txBody>
      </p:sp>
      <p:sp>
        <p:nvSpPr>
          <p:cNvPr id="9" name="Rectangle 8"/>
          <p:cNvSpPr/>
          <p:nvPr/>
        </p:nvSpPr>
        <p:spPr>
          <a:xfrm>
            <a:off x="6657879" y="2018364"/>
            <a:ext cx="2905099" cy="2349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600" b="1" dirty="0">
                <a:solidFill>
                  <a:schemeClr val="tx2"/>
                </a:solidFill>
                <a:latin typeface="Verdana" panose="020B0604030504040204" pitchFamily="34" charset="0"/>
                <a:ea typeface="Verdana" panose="020B0604030504040204" pitchFamily="34" charset="0"/>
                <a:cs typeface="Verdana" panose="020B0604030504040204" pitchFamily="34" charset="0"/>
              </a:rPr>
              <a:t>About Capgemini</a:t>
            </a:r>
          </a:p>
        </p:txBody>
      </p:sp>
      <p:sp>
        <p:nvSpPr>
          <p:cNvPr id="10" name="Rectangle 9"/>
          <p:cNvSpPr/>
          <p:nvPr/>
        </p:nvSpPr>
        <p:spPr>
          <a:xfrm>
            <a:off x="6657880" y="4973899"/>
            <a:ext cx="3468945" cy="5433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rPr>
              <a:t>Learn more about us at</a:t>
            </a:r>
          </a:p>
          <a:p>
            <a:pPr algn="just">
              <a:lnSpc>
                <a:spcPts val="1200"/>
              </a:lnSpc>
            </a:pPr>
            <a:r>
              <a:rPr lang="en-US" sz="1867" dirty="0">
                <a:solidFill>
                  <a:schemeClr val="accent2"/>
                </a:solidFill>
                <a:latin typeface="Verdana" panose="020B0604030504040204" pitchFamily="34" charset="0"/>
                <a:ea typeface="Verdana" panose="020B0604030504040204" pitchFamily="34" charset="0"/>
                <a:cs typeface="Verdana" panose="020B0604030504040204" pitchFamily="34" charset="0"/>
              </a:rPr>
              <a:t>www.capgemini.com</a:t>
            </a:r>
          </a:p>
        </p:txBody>
      </p:sp>
      <p:sp>
        <p:nvSpPr>
          <p:cNvPr id="17" name="Rectangle 16"/>
          <p:cNvSpPr/>
          <p:nvPr/>
        </p:nvSpPr>
        <p:spPr>
          <a:xfrm>
            <a:off x="6657879" y="6042841"/>
            <a:ext cx="5213580" cy="574260"/>
          </a:xfrm>
          <a:prstGeom prst="rect">
            <a:avLst/>
          </a:prstGeom>
        </p:spPr>
        <p:txBody>
          <a:bodyPr wrap="square" lIns="0" tIns="0" rIns="0" bIns="0" anchor="b" anchorCtr="0">
            <a:spAutoFit/>
          </a:bodyPr>
          <a:lstStyle/>
          <a:p>
            <a:pPr>
              <a:spcAft>
                <a:spcPts val="600"/>
              </a:spcAft>
            </a:pPr>
            <a:r>
              <a:rPr lang="en-US" sz="900" dirty="0">
                <a:latin typeface="Verdana" panose="020B0604030504040204" pitchFamily="34" charset="0"/>
                <a:ea typeface="Verdana" panose="020B0604030504040204" pitchFamily="34" charset="0"/>
                <a:cs typeface="Verdana" panose="020B0604030504040204" pitchFamily="34" charset="0"/>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19" name="Rectangle 18">
            <a:hlinkClick r:id="rId6"/>
          </p:cNvPr>
          <p:cNvSpPr/>
          <p:nvPr/>
        </p:nvSpPr>
        <p:spPr>
          <a:xfrm>
            <a:off x="11956319" y="5079045"/>
            <a:ext cx="922387" cy="166328"/>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GB" sz="2400" dirty="0"/>
          </a:p>
        </p:txBody>
      </p:sp>
      <p:sp>
        <p:nvSpPr>
          <p:cNvPr id="4" name="Freeform 5"/>
          <p:cNvSpPr>
            <a:spLocks/>
          </p:cNvSpPr>
          <p:nvPr/>
        </p:nvSpPr>
        <p:spPr bwMode="auto">
          <a:xfrm>
            <a:off x="1468502" y="-14553"/>
            <a:ext cx="4422889" cy="6872553"/>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 name="connsiteX0" fmla="*/ 2507 w 10000"/>
              <a:gd name="connsiteY0" fmla="*/ 0 h 10000"/>
              <a:gd name="connsiteX1" fmla="*/ 0 w 10000"/>
              <a:gd name="connsiteY1" fmla="*/ 0 h 10000"/>
              <a:gd name="connsiteX2" fmla="*/ 0 w 10000"/>
              <a:gd name="connsiteY2" fmla="*/ 10000 h 10000"/>
              <a:gd name="connsiteX3" fmla="*/ 10000 w 10000"/>
              <a:gd name="connsiteY3" fmla="*/ 10000 h 10000"/>
              <a:gd name="connsiteX4" fmla="*/ 525 w 10000"/>
              <a:gd name="connsiteY4" fmla="*/ 9989 h 10000"/>
              <a:gd name="connsiteX5" fmla="*/ 6152 w 10000"/>
              <a:gd name="connsiteY5" fmla="*/ 4435 h 10000"/>
              <a:gd name="connsiteX6" fmla="*/ 2507 w 10000"/>
              <a:gd name="connsiteY6" fmla="*/ 0 h 10000"/>
              <a:gd name="connsiteX0" fmla="*/ 2507 w 6673"/>
              <a:gd name="connsiteY0" fmla="*/ 0 h 10000"/>
              <a:gd name="connsiteX1" fmla="*/ 0 w 6673"/>
              <a:gd name="connsiteY1" fmla="*/ 0 h 10000"/>
              <a:gd name="connsiteX2" fmla="*/ 0 w 6673"/>
              <a:gd name="connsiteY2" fmla="*/ 10000 h 10000"/>
              <a:gd name="connsiteX3" fmla="*/ 525 w 6673"/>
              <a:gd name="connsiteY3" fmla="*/ 9989 h 10000"/>
              <a:gd name="connsiteX4" fmla="*/ 6152 w 6673"/>
              <a:gd name="connsiteY4" fmla="*/ 4435 h 10000"/>
              <a:gd name="connsiteX5" fmla="*/ 2507 w 6673"/>
              <a:gd name="connsiteY5" fmla="*/ 0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18 w 10000"/>
              <a:gd name="connsiteY5" fmla="*/ 2310 h 10000"/>
              <a:gd name="connsiteX0" fmla="*/ 0 w 10000"/>
              <a:gd name="connsiteY0" fmla="*/ 0 h 10000"/>
              <a:gd name="connsiteX1" fmla="*/ 0 w 10000"/>
              <a:gd name="connsiteY1" fmla="*/ 10000 h 10000"/>
              <a:gd name="connsiteX2" fmla="*/ 787 w 10000"/>
              <a:gd name="connsiteY2" fmla="*/ 9989 h 10000"/>
              <a:gd name="connsiteX3" fmla="*/ 9219 w 10000"/>
              <a:gd name="connsiteY3" fmla="*/ 4435 h 10000"/>
              <a:gd name="connsiteX4" fmla="*/ 4418 w 10000"/>
              <a:gd name="connsiteY4" fmla="*/ 2310 h 10000"/>
              <a:gd name="connsiteX0" fmla="*/ 1064 w 10002"/>
              <a:gd name="connsiteY0" fmla="*/ 0 h 8342"/>
              <a:gd name="connsiteX1" fmla="*/ 2 w 10002"/>
              <a:gd name="connsiteY1" fmla="*/ 7770 h 8342"/>
              <a:gd name="connsiteX2" fmla="*/ 789 w 10002"/>
              <a:gd name="connsiteY2" fmla="*/ 7759 h 8342"/>
              <a:gd name="connsiteX3" fmla="*/ 9221 w 10002"/>
              <a:gd name="connsiteY3" fmla="*/ 2205 h 8342"/>
              <a:gd name="connsiteX4" fmla="*/ 4420 w 10002"/>
              <a:gd name="connsiteY4" fmla="*/ 80 h 8342"/>
              <a:gd name="connsiteX0" fmla="*/ 1919 w 10028"/>
              <a:gd name="connsiteY0" fmla="*/ 386 h 9869"/>
              <a:gd name="connsiteX1" fmla="*/ 30 w 10028"/>
              <a:gd name="connsiteY1" fmla="*/ 9218 h 9869"/>
              <a:gd name="connsiteX2" fmla="*/ 817 w 10028"/>
              <a:gd name="connsiteY2" fmla="*/ 9205 h 9869"/>
              <a:gd name="connsiteX3" fmla="*/ 9247 w 10028"/>
              <a:gd name="connsiteY3" fmla="*/ 2547 h 9869"/>
              <a:gd name="connsiteX4" fmla="*/ 4447 w 10028"/>
              <a:gd name="connsiteY4" fmla="*/ 0 h 9869"/>
              <a:gd name="connsiteX0" fmla="*/ 1733 w 9993"/>
              <a:gd name="connsiteY0" fmla="*/ 52 h 10024"/>
              <a:gd name="connsiteX1" fmla="*/ 23 w 9993"/>
              <a:gd name="connsiteY1" fmla="*/ 9340 h 10024"/>
              <a:gd name="connsiteX2" fmla="*/ 808 w 9993"/>
              <a:gd name="connsiteY2" fmla="*/ 9327 h 10024"/>
              <a:gd name="connsiteX3" fmla="*/ 9214 w 9993"/>
              <a:gd name="connsiteY3" fmla="*/ 2581 h 10024"/>
              <a:gd name="connsiteX4" fmla="*/ 4428 w 9993"/>
              <a:gd name="connsiteY4" fmla="*/ 0 h 10024"/>
              <a:gd name="connsiteX0" fmla="*/ 1707 w 9999"/>
              <a:gd name="connsiteY0" fmla="*/ 0 h 10005"/>
              <a:gd name="connsiteX1" fmla="*/ 22 w 9999"/>
              <a:gd name="connsiteY1" fmla="*/ 9318 h 10005"/>
              <a:gd name="connsiteX2" fmla="*/ 808 w 9999"/>
              <a:gd name="connsiteY2" fmla="*/ 9305 h 10005"/>
              <a:gd name="connsiteX3" fmla="*/ 9219 w 9999"/>
              <a:gd name="connsiteY3" fmla="*/ 2575 h 10005"/>
              <a:gd name="connsiteX4" fmla="*/ 4430 w 9999"/>
              <a:gd name="connsiteY4" fmla="*/ 0 h 10005"/>
              <a:gd name="connsiteX0" fmla="*/ 1733 w 9999"/>
              <a:gd name="connsiteY0" fmla="*/ 6 h 9999"/>
              <a:gd name="connsiteX1" fmla="*/ 22 w 9999"/>
              <a:gd name="connsiteY1" fmla="*/ 9313 h 9999"/>
              <a:gd name="connsiteX2" fmla="*/ 808 w 9999"/>
              <a:gd name="connsiteY2" fmla="*/ 9300 h 9999"/>
              <a:gd name="connsiteX3" fmla="*/ 9220 w 9999"/>
              <a:gd name="connsiteY3" fmla="*/ 2574 h 9999"/>
              <a:gd name="connsiteX4" fmla="*/ 4430 w 9999"/>
              <a:gd name="connsiteY4" fmla="*/ 0 h 9999"/>
              <a:gd name="connsiteX0" fmla="*/ 1936 w 10008"/>
              <a:gd name="connsiteY0" fmla="*/ 189 h 9986"/>
              <a:gd name="connsiteX1" fmla="*/ 30 w 10008"/>
              <a:gd name="connsiteY1" fmla="*/ 9314 h 9986"/>
              <a:gd name="connsiteX2" fmla="*/ 816 w 10008"/>
              <a:gd name="connsiteY2" fmla="*/ 9301 h 9986"/>
              <a:gd name="connsiteX3" fmla="*/ 9229 w 10008"/>
              <a:gd name="connsiteY3" fmla="*/ 2574 h 9986"/>
              <a:gd name="connsiteX4" fmla="*/ 4438 w 10008"/>
              <a:gd name="connsiteY4" fmla="*/ 0 h 9986"/>
              <a:gd name="connsiteX0" fmla="*/ 1737 w 9993"/>
              <a:gd name="connsiteY0" fmla="*/ 16 h 10013"/>
              <a:gd name="connsiteX1" fmla="*/ 23 w 9993"/>
              <a:gd name="connsiteY1" fmla="*/ 9327 h 10013"/>
              <a:gd name="connsiteX2" fmla="*/ 808 w 9993"/>
              <a:gd name="connsiteY2" fmla="*/ 9314 h 10013"/>
              <a:gd name="connsiteX3" fmla="*/ 9215 w 9993"/>
              <a:gd name="connsiteY3" fmla="*/ 2578 h 10013"/>
              <a:gd name="connsiteX4" fmla="*/ 4427 w 9993"/>
              <a:gd name="connsiteY4" fmla="*/ 0 h 10013"/>
              <a:gd name="connsiteX0" fmla="*/ 1696 w 9341"/>
              <a:gd name="connsiteY0" fmla="*/ 16 h 9780"/>
              <a:gd name="connsiteX1" fmla="*/ 493 w 9341"/>
              <a:gd name="connsiteY1" fmla="*/ 8210 h 9780"/>
              <a:gd name="connsiteX2" fmla="*/ 767 w 9341"/>
              <a:gd name="connsiteY2" fmla="*/ 9302 h 9780"/>
              <a:gd name="connsiteX3" fmla="*/ 9179 w 9341"/>
              <a:gd name="connsiteY3" fmla="*/ 2575 h 9780"/>
              <a:gd name="connsiteX4" fmla="*/ 4388 w 9341"/>
              <a:gd name="connsiteY4" fmla="*/ 0 h 9780"/>
              <a:gd name="connsiteX0" fmla="*/ 1719 w 9903"/>
              <a:gd name="connsiteY0" fmla="*/ 16 h 9917"/>
              <a:gd name="connsiteX1" fmla="*/ 676 w 9903"/>
              <a:gd name="connsiteY1" fmla="*/ 8136 h 9917"/>
              <a:gd name="connsiteX2" fmla="*/ 724 w 9903"/>
              <a:gd name="connsiteY2" fmla="*/ 9511 h 9917"/>
              <a:gd name="connsiteX3" fmla="*/ 9730 w 9903"/>
              <a:gd name="connsiteY3" fmla="*/ 2633 h 9917"/>
              <a:gd name="connsiteX4" fmla="*/ 4601 w 9903"/>
              <a:gd name="connsiteY4" fmla="*/ 0 h 9917"/>
              <a:gd name="connsiteX0" fmla="*/ 1651 w 9914"/>
              <a:gd name="connsiteY0" fmla="*/ 16 h 9811"/>
              <a:gd name="connsiteX1" fmla="*/ 843 w 9914"/>
              <a:gd name="connsiteY1" fmla="*/ 7346 h 9811"/>
              <a:gd name="connsiteX2" fmla="*/ 646 w 9914"/>
              <a:gd name="connsiteY2" fmla="*/ 9591 h 9811"/>
              <a:gd name="connsiteX3" fmla="*/ 9740 w 9914"/>
              <a:gd name="connsiteY3" fmla="*/ 2655 h 9811"/>
              <a:gd name="connsiteX4" fmla="*/ 4561 w 9914"/>
              <a:gd name="connsiteY4" fmla="*/ 0 h 9811"/>
              <a:gd name="connsiteX0" fmla="*/ 1577 w 9910"/>
              <a:gd name="connsiteY0" fmla="*/ 16 h 10001"/>
              <a:gd name="connsiteX1" fmla="*/ 1061 w 9910"/>
              <a:gd name="connsiteY1" fmla="*/ 7495 h 10001"/>
              <a:gd name="connsiteX2" fmla="*/ 564 w 9910"/>
              <a:gd name="connsiteY2" fmla="*/ 9776 h 10001"/>
              <a:gd name="connsiteX3" fmla="*/ 9736 w 9910"/>
              <a:gd name="connsiteY3" fmla="*/ 2706 h 10001"/>
              <a:gd name="connsiteX4" fmla="*/ 4513 w 9910"/>
              <a:gd name="connsiteY4" fmla="*/ 0 h 10001"/>
              <a:gd name="connsiteX0" fmla="*/ 1499 w 9907"/>
              <a:gd name="connsiteY0" fmla="*/ 16 h 9999"/>
              <a:gd name="connsiteX1" fmla="*/ 1351 w 9907"/>
              <a:gd name="connsiteY1" fmla="*/ 7490 h 9999"/>
              <a:gd name="connsiteX2" fmla="*/ 477 w 9907"/>
              <a:gd name="connsiteY2" fmla="*/ 9775 h 9999"/>
              <a:gd name="connsiteX3" fmla="*/ 9732 w 9907"/>
              <a:gd name="connsiteY3" fmla="*/ 2706 h 9999"/>
              <a:gd name="connsiteX4" fmla="*/ 4462 w 9907"/>
              <a:gd name="connsiteY4" fmla="*/ 0 h 9999"/>
              <a:gd name="connsiteX0" fmla="*/ 1457 w 9943"/>
              <a:gd name="connsiteY0" fmla="*/ 16 h 10001"/>
              <a:gd name="connsiteX1" fmla="*/ 1578 w 9943"/>
              <a:gd name="connsiteY1" fmla="*/ 7497 h 10001"/>
              <a:gd name="connsiteX2" fmla="*/ 425 w 9943"/>
              <a:gd name="connsiteY2" fmla="*/ 9776 h 10001"/>
              <a:gd name="connsiteX3" fmla="*/ 9767 w 9943"/>
              <a:gd name="connsiteY3" fmla="*/ 2706 h 10001"/>
              <a:gd name="connsiteX4" fmla="*/ 4448 w 9943"/>
              <a:gd name="connsiteY4" fmla="*/ 0 h 10001"/>
              <a:gd name="connsiteX0" fmla="*/ 1492 w 10028"/>
              <a:gd name="connsiteY0" fmla="*/ 16 h 10024"/>
              <a:gd name="connsiteX1" fmla="*/ 1481 w 10028"/>
              <a:gd name="connsiteY1" fmla="*/ 7635 h 10024"/>
              <a:gd name="connsiteX2" fmla="*/ 454 w 10028"/>
              <a:gd name="connsiteY2" fmla="*/ 9775 h 10024"/>
              <a:gd name="connsiteX3" fmla="*/ 9850 w 10028"/>
              <a:gd name="connsiteY3" fmla="*/ 2706 h 10024"/>
              <a:gd name="connsiteX4" fmla="*/ 4500 w 10028"/>
              <a:gd name="connsiteY4" fmla="*/ 0 h 10024"/>
              <a:gd name="connsiteX0" fmla="*/ 1422 w 9958"/>
              <a:gd name="connsiteY0" fmla="*/ 16 h 9919"/>
              <a:gd name="connsiteX1" fmla="*/ 1411 w 9958"/>
              <a:gd name="connsiteY1" fmla="*/ 7635 h 9919"/>
              <a:gd name="connsiteX2" fmla="*/ 384 w 9958"/>
              <a:gd name="connsiteY2" fmla="*/ 9775 h 9919"/>
              <a:gd name="connsiteX3" fmla="*/ 9780 w 9958"/>
              <a:gd name="connsiteY3" fmla="*/ 2706 h 9919"/>
              <a:gd name="connsiteX4" fmla="*/ 4430 w 9958"/>
              <a:gd name="connsiteY4" fmla="*/ 0 h 9919"/>
              <a:gd name="connsiteX0" fmla="*/ 1428 w 9999"/>
              <a:gd name="connsiteY0" fmla="*/ 16 h 10000"/>
              <a:gd name="connsiteX1" fmla="*/ 1417 w 9999"/>
              <a:gd name="connsiteY1" fmla="*/ 7697 h 10000"/>
              <a:gd name="connsiteX2" fmla="*/ 386 w 9999"/>
              <a:gd name="connsiteY2" fmla="*/ 9855 h 10000"/>
              <a:gd name="connsiteX3" fmla="*/ 9821 w 9999"/>
              <a:gd name="connsiteY3" fmla="*/ 2728 h 10000"/>
              <a:gd name="connsiteX4" fmla="*/ 4449 w 9999"/>
              <a:gd name="connsiteY4" fmla="*/ 0 h 10000"/>
              <a:gd name="connsiteX0" fmla="*/ 1422 w 9994"/>
              <a:gd name="connsiteY0" fmla="*/ 16 h 9999"/>
              <a:gd name="connsiteX1" fmla="*/ 1411 w 9994"/>
              <a:gd name="connsiteY1" fmla="*/ 7697 h 9999"/>
              <a:gd name="connsiteX2" fmla="*/ 380 w 9994"/>
              <a:gd name="connsiteY2" fmla="*/ 9855 h 9999"/>
              <a:gd name="connsiteX3" fmla="*/ 9816 w 9994"/>
              <a:gd name="connsiteY3" fmla="*/ 2728 h 9999"/>
              <a:gd name="connsiteX4" fmla="*/ 4443 w 9994"/>
              <a:gd name="connsiteY4" fmla="*/ 0 h 9999"/>
              <a:gd name="connsiteX0" fmla="*/ 1423 w 9861"/>
              <a:gd name="connsiteY0" fmla="*/ 16 h 10000"/>
              <a:gd name="connsiteX1" fmla="*/ 1412 w 9861"/>
              <a:gd name="connsiteY1" fmla="*/ 7698 h 10000"/>
              <a:gd name="connsiteX2" fmla="*/ 380 w 9861"/>
              <a:gd name="connsiteY2" fmla="*/ 9856 h 10000"/>
              <a:gd name="connsiteX3" fmla="*/ 3862 w 9861"/>
              <a:gd name="connsiteY3" fmla="*/ 7697 h 10000"/>
              <a:gd name="connsiteX4" fmla="*/ 9822 w 9861"/>
              <a:gd name="connsiteY4" fmla="*/ 2728 h 10000"/>
              <a:gd name="connsiteX5" fmla="*/ 4446 w 9861"/>
              <a:gd name="connsiteY5" fmla="*/ 0 h 10000"/>
              <a:gd name="connsiteX0" fmla="*/ 1115 w 9671"/>
              <a:gd name="connsiteY0" fmla="*/ 16 h 9856"/>
              <a:gd name="connsiteX1" fmla="*/ 1104 w 9671"/>
              <a:gd name="connsiteY1" fmla="*/ 7698 h 9856"/>
              <a:gd name="connsiteX2" fmla="*/ 57 w 9671"/>
              <a:gd name="connsiteY2" fmla="*/ 9856 h 9856"/>
              <a:gd name="connsiteX3" fmla="*/ 3585 w 9671"/>
              <a:gd name="connsiteY3" fmla="*/ 7710 h 9856"/>
              <a:gd name="connsiteX4" fmla="*/ 9632 w 9671"/>
              <a:gd name="connsiteY4" fmla="*/ 2728 h 9856"/>
              <a:gd name="connsiteX5" fmla="*/ 4181 w 9671"/>
              <a:gd name="connsiteY5" fmla="*/ 0 h 9856"/>
              <a:gd name="connsiteX0" fmla="*/ 1153 w 10001"/>
              <a:gd name="connsiteY0" fmla="*/ 16 h 10000"/>
              <a:gd name="connsiteX1" fmla="*/ 1142 w 10001"/>
              <a:gd name="connsiteY1" fmla="*/ 7810 h 10000"/>
              <a:gd name="connsiteX2" fmla="*/ 59 w 10001"/>
              <a:gd name="connsiteY2" fmla="*/ 10000 h 10000"/>
              <a:gd name="connsiteX3" fmla="*/ 3707 w 10001"/>
              <a:gd name="connsiteY3" fmla="*/ 7823 h 10000"/>
              <a:gd name="connsiteX4" fmla="*/ 9960 w 10001"/>
              <a:gd name="connsiteY4" fmla="*/ 2768 h 10000"/>
              <a:gd name="connsiteX5" fmla="*/ 4323 w 10001"/>
              <a:gd name="connsiteY5" fmla="*/ 0 h 10000"/>
              <a:gd name="connsiteX0" fmla="*/ 187 w 9035"/>
              <a:gd name="connsiteY0" fmla="*/ 16 h 8627"/>
              <a:gd name="connsiteX1" fmla="*/ 176 w 9035"/>
              <a:gd name="connsiteY1" fmla="*/ 7810 h 8627"/>
              <a:gd name="connsiteX2" fmla="*/ 2741 w 9035"/>
              <a:gd name="connsiteY2" fmla="*/ 7823 h 8627"/>
              <a:gd name="connsiteX3" fmla="*/ 8994 w 9035"/>
              <a:gd name="connsiteY3" fmla="*/ 2768 h 8627"/>
              <a:gd name="connsiteX4" fmla="*/ 3357 w 9035"/>
              <a:gd name="connsiteY4" fmla="*/ 0 h 8627"/>
              <a:gd name="connsiteX0" fmla="*/ 207 w 10000"/>
              <a:gd name="connsiteY0" fmla="*/ 19 h 9728"/>
              <a:gd name="connsiteX1" fmla="*/ 195 w 10000"/>
              <a:gd name="connsiteY1" fmla="*/ 9053 h 9728"/>
              <a:gd name="connsiteX2" fmla="*/ 3034 w 10000"/>
              <a:gd name="connsiteY2" fmla="*/ 9068 h 9728"/>
              <a:gd name="connsiteX3" fmla="*/ 9955 w 10000"/>
              <a:gd name="connsiteY3" fmla="*/ 3209 h 9728"/>
              <a:gd name="connsiteX4" fmla="*/ 3716 w 10000"/>
              <a:gd name="connsiteY4" fmla="*/ 0 h 9728"/>
              <a:gd name="connsiteX0" fmla="*/ 207 w 10000"/>
              <a:gd name="connsiteY0" fmla="*/ 20 h 9323"/>
              <a:gd name="connsiteX1" fmla="*/ 195 w 10000"/>
              <a:gd name="connsiteY1" fmla="*/ 9306 h 9323"/>
              <a:gd name="connsiteX2" fmla="*/ 3034 w 10000"/>
              <a:gd name="connsiteY2" fmla="*/ 9322 h 9323"/>
              <a:gd name="connsiteX3" fmla="*/ 9955 w 10000"/>
              <a:gd name="connsiteY3" fmla="*/ 3299 h 9323"/>
              <a:gd name="connsiteX4" fmla="*/ 3716 w 10000"/>
              <a:gd name="connsiteY4" fmla="*/ 0 h 9323"/>
              <a:gd name="connsiteX0" fmla="*/ 207 w 10000"/>
              <a:gd name="connsiteY0" fmla="*/ 21 h 10000"/>
              <a:gd name="connsiteX1" fmla="*/ 195 w 10000"/>
              <a:gd name="connsiteY1" fmla="*/ 9982 h 10000"/>
              <a:gd name="connsiteX2" fmla="*/ 3034 w 10000"/>
              <a:gd name="connsiteY2" fmla="*/ 9999 h 10000"/>
              <a:gd name="connsiteX3" fmla="*/ 9955 w 10000"/>
              <a:gd name="connsiteY3" fmla="*/ 3539 h 10000"/>
              <a:gd name="connsiteX4" fmla="*/ 3716 w 10000"/>
              <a:gd name="connsiteY4" fmla="*/ 0 h 10000"/>
              <a:gd name="connsiteX0" fmla="*/ 207 w 10000"/>
              <a:gd name="connsiteY0" fmla="*/ 21 h 10000"/>
              <a:gd name="connsiteX1" fmla="*/ 195 w 10000"/>
              <a:gd name="connsiteY1" fmla="*/ 9982 h 10000"/>
              <a:gd name="connsiteX2" fmla="*/ 3034 w 10000"/>
              <a:gd name="connsiteY2" fmla="*/ 9999 h 10000"/>
              <a:gd name="connsiteX3" fmla="*/ 9955 w 10000"/>
              <a:gd name="connsiteY3" fmla="*/ 3539 h 10000"/>
              <a:gd name="connsiteX4" fmla="*/ 3716 w 10000"/>
              <a:gd name="connsiteY4" fmla="*/ 0 h 10000"/>
              <a:gd name="connsiteX0" fmla="*/ 207 w 10000"/>
              <a:gd name="connsiteY0" fmla="*/ 21 h 9999"/>
              <a:gd name="connsiteX1" fmla="*/ 195 w 10000"/>
              <a:gd name="connsiteY1" fmla="*/ 9982 h 9999"/>
              <a:gd name="connsiteX2" fmla="*/ 3034 w 10000"/>
              <a:gd name="connsiteY2" fmla="*/ 9999 h 9999"/>
              <a:gd name="connsiteX3" fmla="*/ 9955 w 10000"/>
              <a:gd name="connsiteY3" fmla="*/ 3539 h 9999"/>
              <a:gd name="connsiteX4" fmla="*/ 3716 w 10000"/>
              <a:gd name="connsiteY4" fmla="*/ 0 h 9999"/>
              <a:gd name="connsiteX0" fmla="*/ 207 w 10000"/>
              <a:gd name="connsiteY0" fmla="*/ 21 h 9988"/>
              <a:gd name="connsiteX1" fmla="*/ 195 w 10000"/>
              <a:gd name="connsiteY1" fmla="*/ 9983 h 9988"/>
              <a:gd name="connsiteX2" fmla="*/ 7054 w 10000"/>
              <a:gd name="connsiteY2" fmla="*/ 9988 h 9988"/>
              <a:gd name="connsiteX3" fmla="*/ 9955 w 10000"/>
              <a:gd name="connsiteY3" fmla="*/ 3539 h 9988"/>
              <a:gd name="connsiteX4" fmla="*/ 3716 w 10000"/>
              <a:gd name="connsiteY4" fmla="*/ 0 h 9988"/>
              <a:gd name="connsiteX0" fmla="*/ 207 w 10624"/>
              <a:gd name="connsiteY0" fmla="*/ 21 h 10000"/>
              <a:gd name="connsiteX1" fmla="*/ 195 w 10624"/>
              <a:gd name="connsiteY1" fmla="*/ 9995 h 10000"/>
              <a:gd name="connsiteX2" fmla="*/ 7054 w 10624"/>
              <a:gd name="connsiteY2" fmla="*/ 10000 h 10000"/>
              <a:gd name="connsiteX3" fmla="*/ 9955 w 10624"/>
              <a:gd name="connsiteY3" fmla="*/ 3543 h 10000"/>
              <a:gd name="connsiteX4" fmla="*/ 3716 w 10624"/>
              <a:gd name="connsiteY4" fmla="*/ 0 h 10000"/>
              <a:gd name="connsiteX0" fmla="*/ 207 w 10624"/>
              <a:gd name="connsiteY0" fmla="*/ 21 h 10000"/>
              <a:gd name="connsiteX1" fmla="*/ 195 w 10624"/>
              <a:gd name="connsiteY1" fmla="*/ 9995 h 10000"/>
              <a:gd name="connsiteX2" fmla="*/ 7054 w 10624"/>
              <a:gd name="connsiteY2" fmla="*/ 10000 h 10000"/>
              <a:gd name="connsiteX3" fmla="*/ 9955 w 10624"/>
              <a:gd name="connsiteY3" fmla="*/ 3543 h 10000"/>
              <a:gd name="connsiteX4" fmla="*/ 3716 w 10624"/>
              <a:gd name="connsiteY4" fmla="*/ 0 h 10000"/>
              <a:gd name="connsiteX0" fmla="*/ 207 w 11005"/>
              <a:gd name="connsiteY0" fmla="*/ 21 h 10000"/>
              <a:gd name="connsiteX1" fmla="*/ 195 w 11005"/>
              <a:gd name="connsiteY1" fmla="*/ 9995 h 10000"/>
              <a:gd name="connsiteX2" fmla="*/ 7054 w 11005"/>
              <a:gd name="connsiteY2" fmla="*/ 10000 h 10000"/>
              <a:gd name="connsiteX3" fmla="*/ 9955 w 11005"/>
              <a:gd name="connsiteY3" fmla="*/ 3543 h 10000"/>
              <a:gd name="connsiteX4" fmla="*/ 3716 w 11005"/>
              <a:gd name="connsiteY4" fmla="*/ 0 h 10000"/>
              <a:gd name="connsiteX0" fmla="*/ 207 w 10944"/>
              <a:gd name="connsiteY0" fmla="*/ 21 h 10000"/>
              <a:gd name="connsiteX1" fmla="*/ 195 w 10944"/>
              <a:gd name="connsiteY1" fmla="*/ 9995 h 10000"/>
              <a:gd name="connsiteX2" fmla="*/ 7054 w 10944"/>
              <a:gd name="connsiteY2" fmla="*/ 10000 h 10000"/>
              <a:gd name="connsiteX3" fmla="*/ 9955 w 10944"/>
              <a:gd name="connsiteY3" fmla="*/ 3543 h 10000"/>
              <a:gd name="connsiteX4" fmla="*/ 3716 w 10944"/>
              <a:gd name="connsiteY4" fmla="*/ 0 h 10000"/>
              <a:gd name="connsiteX0" fmla="*/ 207 w 10909"/>
              <a:gd name="connsiteY0" fmla="*/ 21 h 10000"/>
              <a:gd name="connsiteX1" fmla="*/ 195 w 10909"/>
              <a:gd name="connsiteY1" fmla="*/ 9995 h 10000"/>
              <a:gd name="connsiteX2" fmla="*/ 7054 w 10909"/>
              <a:gd name="connsiteY2" fmla="*/ 10000 h 10000"/>
              <a:gd name="connsiteX3" fmla="*/ 9955 w 10909"/>
              <a:gd name="connsiteY3" fmla="*/ 3543 h 10000"/>
              <a:gd name="connsiteX4" fmla="*/ 3716 w 10909"/>
              <a:gd name="connsiteY4" fmla="*/ 0 h 10000"/>
              <a:gd name="connsiteX0" fmla="*/ 207 w 10909"/>
              <a:gd name="connsiteY0" fmla="*/ 21 h 10000"/>
              <a:gd name="connsiteX1" fmla="*/ 195 w 10909"/>
              <a:gd name="connsiteY1" fmla="*/ 9995 h 10000"/>
              <a:gd name="connsiteX2" fmla="*/ 7054 w 10909"/>
              <a:gd name="connsiteY2" fmla="*/ 10000 h 10000"/>
              <a:gd name="connsiteX3" fmla="*/ 9955 w 10909"/>
              <a:gd name="connsiteY3" fmla="*/ 3543 h 10000"/>
              <a:gd name="connsiteX4" fmla="*/ 3716 w 10909"/>
              <a:gd name="connsiteY4" fmla="*/ 0 h 10000"/>
              <a:gd name="connsiteX0" fmla="*/ 207 w 10955"/>
              <a:gd name="connsiteY0" fmla="*/ 21 h 10000"/>
              <a:gd name="connsiteX1" fmla="*/ 195 w 10955"/>
              <a:gd name="connsiteY1" fmla="*/ 9995 h 10000"/>
              <a:gd name="connsiteX2" fmla="*/ 7054 w 10955"/>
              <a:gd name="connsiteY2" fmla="*/ 10000 h 10000"/>
              <a:gd name="connsiteX3" fmla="*/ 9955 w 10955"/>
              <a:gd name="connsiteY3" fmla="*/ 3543 h 10000"/>
              <a:gd name="connsiteX4" fmla="*/ 3716 w 10955"/>
              <a:gd name="connsiteY4" fmla="*/ 0 h 10000"/>
              <a:gd name="connsiteX0" fmla="*/ 198 w 10946"/>
              <a:gd name="connsiteY0" fmla="*/ 21 h 10000"/>
              <a:gd name="connsiteX1" fmla="*/ 186 w 10946"/>
              <a:gd name="connsiteY1" fmla="*/ 9995 h 10000"/>
              <a:gd name="connsiteX2" fmla="*/ 7045 w 10946"/>
              <a:gd name="connsiteY2" fmla="*/ 10000 h 10000"/>
              <a:gd name="connsiteX3" fmla="*/ 9946 w 10946"/>
              <a:gd name="connsiteY3" fmla="*/ 3543 h 10000"/>
              <a:gd name="connsiteX4" fmla="*/ 3707 w 10946"/>
              <a:gd name="connsiteY4" fmla="*/ 0 h 10000"/>
              <a:gd name="connsiteX0" fmla="*/ 12 w 10760"/>
              <a:gd name="connsiteY0" fmla="*/ 21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1927 w 10760"/>
              <a:gd name="connsiteY0" fmla="*/ 9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3264 w 10760"/>
              <a:gd name="connsiteY0" fmla="*/ 159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2883 w 10760"/>
              <a:gd name="connsiteY0" fmla="*/ 13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2 w 7879"/>
              <a:gd name="connsiteY0" fmla="*/ 13 h 10000"/>
              <a:gd name="connsiteX1" fmla="*/ 499 w 7879"/>
              <a:gd name="connsiteY1" fmla="*/ 9990 h 10000"/>
              <a:gd name="connsiteX2" fmla="*/ 3978 w 7879"/>
              <a:gd name="connsiteY2" fmla="*/ 10000 h 10000"/>
              <a:gd name="connsiteX3" fmla="*/ 6879 w 7879"/>
              <a:gd name="connsiteY3" fmla="*/ 3543 h 10000"/>
              <a:gd name="connsiteX4" fmla="*/ 640 w 7879"/>
              <a:gd name="connsiteY4" fmla="*/ 0 h 10000"/>
              <a:gd name="connsiteX0" fmla="*/ 16 w 10014"/>
              <a:gd name="connsiteY0" fmla="*/ 13 h 10002"/>
              <a:gd name="connsiteX1" fmla="*/ 0 w 10014"/>
              <a:gd name="connsiteY1" fmla="*/ 10002 h 10002"/>
              <a:gd name="connsiteX2" fmla="*/ 5062 w 10014"/>
              <a:gd name="connsiteY2" fmla="*/ 10000 h 10002"/>
              <a:gd name="connsiteX3" fmla="*/ 8744 w 10014"/>
              <a:gd name="connsiteY3" fmla="*/ 3543 h 10002"/>
              <a:gd name="connsiteX4" fmla="*/ 825 w 10014"/>
              <a:gd name="connsiteY4" fmla="*/ 0 h 10002"/>
              <a:gd name="connsiteX0" fmla="*/ 22 w 10020"/>
              <a:gd name="connsiteY0" fmla="*/ 13 h 10002"/>
              <a:gd name="connsiteX1" fmla="*/ 6 w 10020"/>
              <a:gd name="connsiteY1" fmla="*/ 10002 h 10002"/>
              <a:gd name="connsiteX2" fmla="*/ 5068 w 10020"/>
              <a:gd name="connsiteY2" fmla="*/ 10000 h 10002"/>
              <a:gd name="connsiteX3" fmla="*/ 8750 w 10020"/>
              <a:gd name="connsiteY3" fmla="*/ 3543 h 10002"/>
              <a:gd name="connsiteX4" fmla="*/ 831 w 10020"/>
              <a:gd name="connsiteY4" fmla="*/ 0 h 10002"/>
              <a:gd name="connsiteX0" fmla="*/ 24 w 10019"/>
              <a:gd name="connsiteY0" fmla="*/ 21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24 w 10019"/>
              <a:gd name="connsiteY0" fmla="*/ 15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24 w 10019"/>
              <a:gd name="connsiteY0" fmla="*/ 13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18 w 10027"/>
              <a:gd name="connsiteY0" fmla="*/ 15 h 10002"/>
              <a:gd name="connsiteX1" fmla="*/ 13 w 10027"/>
              <a:gd name="connsiteY1" fmla="*/ 10002 h 10002"/>
              <a:gd name="connsiteX2" fmla="*/ 5075 w 10027"/>
              <a:gd name="connsiteY2" fmla="*/ 10000 h 10002"/>
              <a:gd name="connsiteX3" fmla="*/ 8757 w 10027"/>
              <a:gd name="connsiteY3" fmla="*/ 3543 h 10002"/>
              <a:gd name="connsiteX4" fmla="*/ 838 w 10027"/>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25 w 10014"/>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01 w 10014"/>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01 w 10014"/>
              <a:gd name="connsiteY4" fmla="*/ 0 h 10002"/>
              <a:gd name="connsiteX0" fmla="*/ 5 w 9975"/>
              <a:gd name="connsiteY0" fmla="*/ 15 h 10002"/>
              <a:gd name="connsiteX1" fmla="*/ 0 w 9975"/>
              <a:gd name="connsiteY1" fmla="*/ 10002 h 10002"/>
              <a:gd name="connsiteX2" fmla="*/ 5062 w 9975"/>
              <a:gd name="connsiteY2" fmla="*/ 10000 h 10002"/>
              <a:gd name="connsiteX3" fmla="*/ 8744 w 9975"/>
              <a:gd name="connsiteY3" fmla="*/ 3543 h 10002"/>
              <a:gd name="connsiteX4" fmla="*/ 801 w 9975"/>
              <a:gd name="connsiteY4" fmla="*/ 0 h 10002"/>
              <a:gd name="connsiteX0" fmla="*/ 5 w 10033"/>
              <a:gd name="connsiteY0" fmla="*/ 15 h 10000"/>
              <a:gd name="connsiteX1" fmla="*/ 0 w 10033"/>
              <a:gd name="connsiteY1" fmla="*/ 10000 h 10000"/>
              <a:gd name="connsiteX2" fmla="*/ 5075 w 10033"/>
              <a:gd name="connsiteY2" fmla="*/ 9998 h 10000"/>
              <a:gd name="connsiteX3" fmla="*/ 8766 w 10033"/>
              <a:gd name="connsiteY3" fmla="*/ 3542 h 10000"/>
              <a:gd name="connsiteX4" fmla="*/ 803 w 10033"/>
              <a:gd name="connsiteY4" fmla="*/ 0 h 10000"/>
              <a:gd name="connsiteX0" fmla="*/ 0 w 10359"/>
              <a:gd name="connsiteY0" fmla="*/ 5 h 10000"/>
              <a:gd name="connsiteX1" fmla="*/ 326 w 10359"/>
              <a:gd name="connsiteY1" fmla="*/ 10000 h 10000"/>
              <a:gd name="connsiteX2" fmla="*/ 5401 w 10359"/>
              <a:gd name="connsiteY2" fmla="*/ 9998 h 10000"/>
              <a:gd name="connsiteX3" fmla="*/ 9092 w 10359"/>
              <a:gd name="connsiteY3" fmla="*/ 3542 h 10000"/>
              <a:gd name="connsiteX4" fmla="*/ 1129 w 10359"/>
              <a:gd name="connsiteY4" fmla="*/ 0 h 10000"/>
              <a:gd name="connsiteX0" fmla="*/ 11 w 10370"/>
              <a:gd name="connsiteY0" fmla="*/ 5 h 9998"/>
              <a:gd name="connsiteX1" fmla="*/ 0 w 10370"/>
              <a:gd name="connsiteY1" fmla="*/ 9983 h 9998"/>
              <a:gd name="connsiteX2" fmla="*/ 5412 w 10370"/>
              <a:gd name="connsiteY2" fmla="*/ 9998 h 9998"/>
              <a:gd name="connsiteX3" fmla="*/ 9103 w 10370"/>
              <a:gd name="connsiteY3" fmla="*/ 3542 h 9998"/>
              <a:gd name="connsiteX4" fmla="*/ 1140 w 10370"/>
              <a:gd name="connsiteY4" fmla="*/ 0 h 9998"/>
              <a:gd name="connsiteX0" fmla="*/ 11 w 10000"/>
              <a:gd name="connsiteY0" fmla="*/ 5 h 10000"/>
              <a:gd name="connsiteX1" fmla="*/ 0 w 10000"/>
              <a:gd name="connsiteY1" fmla="*/ 9995 h 10000"/>
              <a:gd name="connsiteX2" fmla="*/ 5219 w 10000"/>
              <a:gd name="connsiteY2" fmla="*/ 10000 h 10000"/>
              <a:gd name="connsiteX3" fmla="*/ 8778 w 10000"/>
              <a:gd name="connsiteY3" fmla="*/ 3543 h 10000"/>
              <a:gd name="connsiteX4" fmla="*/ 1099 w 10000"/>
              <a:gd name="connsiteY4" fmla="*/ 0 h 10000"/>
              <a:gd name="connsiteX0" fmla="*/ 11 w 10000"/>
              <a:gd name="connsiteY0" fmla="*/ 5 h 10000"/>
              <a:gd name="connsiteX1" fmla="*/ 0 w 10000"/>
              <a:gd name="connsiteY1" fmla="*/ 10000 h 10000"/>
              <a:gd name="connsiteX2" fmla="*/ 5219 w 10000"/>
              <a:gd name="connsiteY2" fmla="*/ 10000 h 10000"/>
              <a:gd name="connsiteX3" fmla="*/ 8778 w 10000"/>
              <a:gd name="connsiteY3" fmla="*/ 3543 h 10000"/>
              <a:gd name="connsiteX4" fmla="*/ 109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1" y="5"/>
                </a:moveTo>
                <a:cubicBezTo>
                  <a:pt x="4" y="653"/>
                  <a:pt x="6" y="9269"/>
                  <a:pt x="0" y="10000"/>
                </a:cubicBezTo>
                <a:lnTo>
                  <a:pt x="5219" y="10000"/>
                </a:lnTo>
                <a:cubicBezTo>
                  <a:pt x="11830" y="6870"/>
                  <a:pt x="10065" y="3822"/>
                  <a:pt x="8778" y="3543"/>
                </a:cubicBezTo>
                <a:cubicBezTo>
                  <a:pt x="9452" y="5694"/>
                  <a:pt x="2995" y="3804"/>
                  <a:pt x="1099" y="0"/>
                </a:cubicBezTo>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endParaRPr lang="en-US" sz="2400" dirty="0"/>
          </a:p>
        </p:txBody>
      </p:sp>
      <p:grpSp>
        <p:nvGrpSpPr>
          <p:cNvPr id="5" name="Group 4"/>
          <p:cNvGrpSpPr/>
          <p:nvPr/>
        </p:nvGrpSpPr>
        <p:grpSpPr>
          <a:xfrm>
            <a:off x="4938560" y="2397563"/>
            <a:ext cx="721601" cy="682904"/>
            <a:chOff x="5662614" y="3032124"/>
            <a:chExt cx="863600" cy="801689"/>
          </a:xfrm>
        </p:grpSpPr>
        <p:sp>
          <p:nvSpPr>
            <p:cNvPr id="6" name="Freeform 5"/>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7" name="Freeform 6"/>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grpSp>
      <p:sp>
        <p:nvSpPr>
          <p:cNvPr id="16" name="Rectangle 15"/>
          <p:cNvSpPr/>
          <p:nvPr/>
        </p:nvSpPr>
        <p:spPr>
          <a:xfrm>
            <a:off x="803869" y="5063024"/>
            <a:ext cx="4024517" cy="723275"/>
          </a:xfrm>
          <a:prstGeom prst="rect">
            <a:avLst/>
          </a:prstGeom>
        </p:spPr>
        <p:txBody>
          <a:bodyPr wrap="square" lIns="0" tIns="0" rIns="0" bIns="0" anchor="b" anchorCtr="0">
            <a:spAutoFit/>
          </a:bodyPr>
          <a:lstStyle/>
          <a:p>
            <a:pPr>
              <a:spcAft>
                <a:spcPts val="600"/>
              </a:spcAft>
            </a:pPr>
            <a: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t>This message contains information that may be privileged or confidential and is the property of the Capgemini Group.</a:t>
            </a:r>
            <a:b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br>
            <a: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t>Copyright © 2018 Capgemini. All rights reserved.</a:t>
            </a:r>
          </a:p>
          <a:p>
            <a:pPr marL="0" marR="0" indent="0" defTabSz="957732" rtl="0" eaLnBrk="1" fontAlgn="auto" latinLnBrk="0" hangingPunct="1">
              <a:lnSpc>
                <a:spcPct val="100000"/>
              </a:lnSpc>
              <a:spcBef>
                <a:spcPts val="0"/>
              </a:spcBef>
              <a:spcAft>
                <a:spcPts val="600"/>
              </a:spcAft>
              <a:buClrTx/>
              <a:buSzTx/>
              <a:buFontTx/>
              <a:buNone/>
              <a:tabLst/>
              <a:defRPr/>
            </a:pPr>
            <a: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t>Rightshore</a:t>
            </a:r>
            <a:r>
              <a:rPr lang="en-US" sz="1050" baseline="30000" noProof="0" dirty="0">
                <a:solidFill>
                  <a:schemeClr val="bg1"/>
                </a:solidFill>
                <a:latin typeface="Verdana" panose="020B0604030504040204" pitchFamily="34" charset="0"/>
                <a:ea typeface="Verdana" panose="020B0604030504040204" pitchFamily="34" charset="0"/>
                <a:cs typeface="Verdana" panose="020B0604030504040204" pitchFamily="34" charset="0"/>
              </a:rPr>
              <a:t>®</a:t>
            </a:r>
            <a: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t> is a trademark belonging to Capgemini.</a:t>
            </a:r>
          </a:p>
        </p:txBody>
      </p:sp>
      <p:pic>
        <p:nvPicPr>
          <p:cNvPr id="24" name="Picture 2" descr="D:\My Work\Template\Icons\Social Media\LinkedIN.png">
            <a:hlinkClick r:id="rId7"/>
          </p:cNvPr>
          <p:cNvPicPr>
            <a:picLocks noChangeAspect="1" noChangeArrowheads="1"/>
          </p:cNvPicPr>
          <p:nvPr/>
        </p:nvPicPr>
        <p:blipFill>
          <a:blip r:embed="rId8" cstate="print"/>
          <a:srcRect/>
          <a:stretch>
            <a:fillRect/>
          </a:stretch>
        </p:blipFill>
        <p:spPr bwMode="auto">
          <a:xfrm>
            <a:off x="1237871" y="3450893"/>
            <a:ext cx="436028" cy="444511"/>
          </a:xfrm>
          <a:prstGeom prst="rect">
            <a:avLst/>
          </a:prstGeom>
          <a:noFill/>
        </p:spPr>
      </p:pic>
      <p:pic>
        <p:nvPicPr>
          <p:cNvPr id="25" name="Picture 4" descr="D:\My Work\Template\Icons\Social Media\SlideShare.png">
            <a:hlinkClick r:id="rId9"/>
          </p:cNvPr>
          <p:cNvPicPr>
            <a:picLocks noChangeAspect="1" noChangeArrowheads="1"/>
          </p:cNvPicPr>
          <p:nvPr/>
        </p:nvPicPr>
        <p:blipFill>
          <a:blip r:embed="rId10" cstate="print"/>
          <a:srcRect/>
          <a:stretch>
            <a:fillRect/>
          </a:stretch>
        </p:blipFill>
        <p:spPr bwMode="auto">
          <a:xfrm>
            <a:off x="1739569" y="3450893"/>
            <a:ext cx="436028" cy="444511"/>
          </a:xfrm>
          <a:prstGeom prst="rect">
            <a:avLst/>
          </a:prstGeom>
          <a:noFill/>
        </p:spPr>
      </p:pic>
      <p:pic>
        <p:nvPicPr>
          <p:cNvPr id="26" name="Picture 5" descr="D:\My Work\Template\Icons\Social Media\Twitter.png">
            <a:hlinkClick r:id="rId11"/>
          </p:cNvPr>
          <p:cNvPicPr>
            <a:picLocks noChangeAspect="1" noChangeArrowheads="1"/>
          </p:cNvPicPr>
          <p:nvPr/>
        </p:nvPicPr>
        <p:blipFill>
          <a:blip r:embed="rId12" cstate="print"/>
          <a:srcRect/>
          <a:stretch>
            <a:fillRect/>
          </a:stretch>
        </p:blipFill>
        <p:spPr bwMode="auto">
          <a:xfrm>
            <a:off x="2241265" y="3450893"/>
            <a:ext cx="436028" cy="444511"/>
          </a:xfrm>
          <a:prstGeom prst="rect">
            <a:avLst/>
          </a:prstGeom>
          <a:noFill/>
        </p:spPr>
      </p:pic>
      <p:pic>
        <p:nvPicPr>
          <p:cNvPr id="27" name="Picture 6" descr="D:\My Work\Template\Icons\Social Media\YouTube.png">
            <a:hlinkClick r:id="rId13"/>
          </p:cNvPr>
          <p:cNvPicPr>
            <a:picLocks noChangeAspect="1" noChangeArrowheads="1"/>
          </p:cNvPicPr>
          <p:nvPr/>
        </p:nvPicPr>
        <p:blipFill>
          <a:blip r:embed="rId14" cstate="print"/>
          <a:srcRect/>
          <a:stretch>
            <a:fillRect/>
          </a:stretch>
        </p:blipFill>
        <p:spPr bwMode="auto">
          <a:xfrm>
            <a:off x="2742961" y="3450893"/>
            <a:ext cx="436028" cy="444511"/>
          </a:xfrm>
          <a:prstGeom prst="rect">
            <a:avLst/>
          </a:prstGeom>
          <a:noFill/>
        </p:spPr>
      </p:pic>
      <p:pic>
        <p:nvPicPr>
          <p:cNvPr id="28" name="Picture 7" descr="D:\My Work\Template\Icons\Social Media\Facebook.png">
            <a:hlinkClick r:id="rId15"/>
          </p:cNvPr>
          <p:cNvPicPr>
            <a:picLocks noChangeAspect="1" noChangeArrowheads="1"/>
          </p:cNvPicPr>
          <p:nvPr/>
        </p:nvPicPr>
        <p:blipFill>
          <a:blip r:embed="rId16" cstate="print"/>
          <a:srcRect/>
          <a:stretch>
            <a:fillRect/>
          </a:stretch>
        </p:blipFill>
        <p:spPr bwMode="auto">
          <a:xfrm>
            <a:off x="736173" y="3450893"/>
            <a:ext cx="436028" cy="444511"/>
          </a:xfrm>
          <a:prstGeom prst="rect">
            <a:avLst/>
          </a:prstGeom>
          <a:noFill/>
        </p:spPr>
      </p:pic>
      <p:pic>
        <p:nvPicPr>
          <p:cNvPr id="29" name="Picture 28"/>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726401" y="4057788"/>
            <a:ext cx="3350504" cy="268168"/>
          </a:xfrm>
          <a:prstGeom prst="rect">
            <a:avLst/>
          </a:prstGeom>
        </p:spPr>
      </p:pic>
    </p:spTree>
    <p:extLst>
      <p:ext uri="{BB962C8B-B14F-4D97-AF65-F5344CB8AC3E}">
        <p14:creationId xmlns:p14="http://schemas.microsoft.com/office/powerpoint/2010/main" val="17100550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3_Section Header">
    <p:bg>
      <p:bgPr>
        <a:solidFill>
          <a:schemeClr val="bg1"/>
        </a:solidFill>
        <a:effectLst/>
      </p:bgPr>
    </p:bg>
    <p:spTree>
      <p:nvGrpSpPr>
        <p:cNvPr id="1" name=""/>
        <p:cNvGrpSpPr/>
        <p:nvPr/>
      </p:nvGrpSpPr>
      <p:grpSpPr>
        <a:xfrm>
          <a:off x="0" y="0"/>
          <a:ext cx="0" cy="0"/>
          <a:chOff x="0" y="0"/>
          <a:chExt cx="0" cy="0"/>
        </a:xfrm>
      </p:grpSpPr>
      <p:sp>
        <p:nvSpPr>
          <p:cNvPr id="13" name="Freeform: Shape 9">
            <a:extLst>
              <a:ext uri="{FF2B5EF4-FFF2-40B4-BE49-F238E27FC236}">
                <a16:creationId xmlns:a16="http://schemas.microsoft.com/office/drawing/2014/main" id="{531E77B6-0DD5-446F-A826-892DFC23D785}"/>
              </a:ext>
            </a:extLst>
          </p:cNvPr>
          <p:cNvSpPr>
            <a:spLocks/>
          </p:cNvSpPr>
          <p:nvPr userDrawn="1"/>
        </p:nvSpPr>
        <p:spPr bwMode="auto">
          <a:xfrm rot="16200000" flipH="1">
            <a:off x="4598797" y="-726823"/>
            <a:ext cx="6866376" cy="8320025"/>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5134707 w 6857999"/>
              <a:gd name="connsiteY4" fmla="*/ 3984163 h 6240016"/>
              <a:gd name="connsiteX5" fmla="*/ 2767903 w 6857999"/>
              <a:gd name="connsiteY5" fmla="*/ 5342723 h 6240016"/>
              <a:gd name="connsiteX6" fmla="*/ 1497189 w 6857999"/>
              <a:gd name="connsiteY6" fmla="*/ 6201822 h 6240016"/>
              <a:gd name="connsiteX7" fmla="*/ 1393480 w 6857999"/>
              <a:gd name="connsiteY7" fmla="*/ 6240016 h 6240016"/>
              <a:gd name="connsiteX8" fmla="*/ 0 w 6857999"/>
              <a:gd name="connsiteY8" fmla="*/ 618342 h 6240016"/>
              <a:gd name="connsiteX9" fmla="*/ 0 w 6857999"/>
              <a:gd name="connsiteY9" fmla="*/ 6240016 h 6240016"/>
              <a:gd name="connsiteX10" fmla="*/ 921827 w 6857999"/>
              <a:gd name="connsiteY10" fmla="*/ 6240016 h 6240016"/>
              <a:gd name="connsiteX11" fmla="*/ 877464 w 6857999"/>
              <a:gd name="connsiteY11" fmla="*/ 6206986 h 6240016"/>
              <a:gd name="connsiteX12" fmla="*/ 1720124 w 6857999"/>
              <a:gd name="connsiteY12" fmla="*/ 3319666 h 6240016"/>
              <a:gd name="connsiteX13" fmla="*/ 1778012 w 6857999"/>
              <a:gd name="connsiteY13" fmla="*/ 0 h 6240016"/>
              <a:gd name="connsiteX14" fmla="*/ 36658 w 6857999"/>
              <a:gd name="connsiteY14" fmla="*/ 619001 h 6240016"/>
              <a:gd name="connsiteX15" fmla="*/ 0 w 6857999"/>
              <a:gd name="connsiteY15" fmla="*/ 618342 h 6240016"/>
              <a:gd name="connsiteX0" fmla="*/ 1393480 w 6857999"/>
              <a:gd name="connsiteY0" fmla="*/ 6240016 h 6240016"/>
              <a:gd name="connsiteX1" fmla="*/ 5099537 w 6857999"/>
              <a:gd name="connsiteY1" fmla="*/ 6234993 h 6240016"/>
              <a:gd name="connsiteX2" fmla="*/ 6857999 w 6857999"/>
              <a:gd name="connsiteY2" fmla="*/ 6240016 h 6240016"/>
              <a:gd name="connsiteX3" fmla="*/ 6857999 w 6857999"/>
              <a:gd name="connsiteY3" fmla="*/ 4248395 h 6240016"/>
              <a:gd name="connsiteX4" fmla="*/ 6815497 w 6857999"/>
              <a:gd name="connsiteY4" fmla="*/ 4209614 h 6240016"/>
              <a:gd name="connsiteX5" fmla="*/ 5134707 w 6857999"/>
              <a:gd name="connsiteY5" fmla="*/ 3984163 h 6240016"/>
              <a:gd name="connsiteX6" fmla="*/ 2767903 w 6857999"/>
              <a:gd name="connsiteY6" fmla="*/ 5342723 h 6240016"/>
              <a:gd name="connsiteX7" fmla="*/ 1497189 w 6857999"/>
              <a:gd name="connsiteY7" fmla="*/ 6201822 h 6240016"/>
              <a:gd name="connsiteX8" fmla="*/ 1393480 w 6857999"/>
              <a:gd name="connsiteY8" fmla="*/ 6240016 h 6240016"/>
              <a:gd name="connsiteX9" fmla="*/ 0 w 6857999"/>
              <a:gd name="connsiteY9" fmla="*/ 618342 h 6240016"/>
              <a:gd name="connsiteX10" fmla="*/ 0 w 6857999"/>
              <a:gd name="connsiteY10" fmla="*/ 6240016 h 6240016"/>
              <a:gd name="connsiteX11" fmla="*/ 921827 w 6857999"/>
              <a:gd name="connsiteY11" fmla="*/ 6240016 h 6240016"/>
              <a:gd name="connsiteX12" fmla="*/ 877464 w 6857999"/>
              <a:gd name="connsiteY12" fmla="*/ 6206986 h 6240016"/>
              <a:gd name="connsiteX13" fmla="*/ 1720124 w 6857999"/>
              <a:gd name="connsiteY13" fmla="*/ 3319666 h 6240016"/>
              <a:gd name="connsiteX14" fmla="*/ 1778012 w 6857999"/>
              <a:gd name="connsiteY14" fmla="*/ 0 h 6240016"/>
              <a:gd name="connsiteX15" fmla="*/ 36658 w 6857999"/>
              <a:gd name="connsiteY15" fmla="*/ 619001 h 6240016"/>
              <a:gd name="connsiteX16" fmla="*/ 0 w 6857999"/>
              <a:gd name="connsiteY16" fmla="*/ 618342 h 6240016"/>
              <a:gd name="connsiteX0" fmla="*/ 1393480 w 6857999"/>
              <a:gd name="connsiteY0" fmla="*/ 6240016 h 6240016"/>
              <a:gd name="connsiteX1" fmla="*/ 5099537 w 6857999"/>
              <a:gd name="connsiteY1" fmla="*/ 6234993 h 6240016"/>
              <a:gd name="connsiteX2" fmla="*/ 6857999 w 6857999"/>
              <a:gd name="connsiteY2" fmla="*/ 6240016 h 6240016"/>
              <a:gd name="connsiteX3" fmla="*/ 6857999 w 6857999"/>
              <a:gd name="connsiteY3" fmla="*/ 4248395 h 6240016"/>
              <a:gd name="connsiteX4" fmla="*/ 6815497 w 6857999"/>
              <a:gd name="connsiteY4" fmla="*/ 4209614 h 6240016"/>
              <a:gd name="connsiteX5" fmla="*/ 5134707 w 6857999"/>
              <a:gd name="connsiteY5" fmla="*/ 3984163 h 6240016"/>
              <a:gd name="connsiteX6" fmla="*/ 2767903 w 6857999"/>
              <a:gd name="connsiteY6" fmla="*/ 5342723 h 6240016"/>
              <a:gd name="connsiteX7" fmla="*/ 1497189 w 6857999"/>
              <a:gd name="connsiteY7" fmla="*/ 6201822 h 6240016"/>
              <a:gd name="connsiteX8" fmla="*/ 1393480 w 6857999"/>
              <a:gd name="connsiteY8" fmla="*/ 6240016 h 6240016"/>
              <a:gd name="connsiteX9" fmla="*/ 0 w 6857999"/>
              <a:gd name="connsiteY9" fmla="*/ 618342 h 6240016"/>
              <a:gd name="connsiteX10" fmla="*/ 0 w 6857999"/>
              <a:gd name="connsiteY10" fmla="*/ 6240016 h 6240016"/>
              <a:gd name="connsiteX11" fmla="*/ 921827 w 6857999"/>
              <a:gd name="connsiteY11" fmla="*/ 6240016 h 6240016"/>
              <a:gd name="connsiteX12" fmla="*/ 877464 w 6857999"/>
              <a:gd name="connsiteY12" fmla="*/ 6206986 h 6240016"/>
              <a:gd name="connsiteX13" fmla="*/ 1720124 w 6857999"/>
              <a:gd name="connsiteY13" fmla="*/ 3319666 h 6240016"/>
              <a:gd name="connsiteX14" fmla="*/ 1778012 w 6857999"/>
              <a:gd name="connsiteY14" fmla="*/ 0 h 6240016"/>
              <a:gd name="connsiteX15" fmla="*/ 36658 w 6857999"/>
              <a:gd name="connsiteY15" fmla="*/ 619001 h 6240016"/>
              <a:gd name="connsiteX16" fmla="*/ 0 w 6857999"/>
              <a:gd name="connsiteY16" fmla="*/ 618342 h 6240016"/>
              <a:gd name="connsiteX0" fmla="*/ 1393480 w 6857999"/>
              <a:gd name="connsiteY0" fmla="*/ 6240016 h 6240016"/>
              <a:gd name="connsiteX1" fmla="*/ 5099537 w 6857999"/>
              <a:gd name="connsiteY1" fmla="*/ 6234993 h 6240016"/>
              <a:gd name="connsiteX2" fmla="*/ 6857999 w 6857999"/>
              <a:gd name="connsiteY2" fmla="*/ 6240016 h 6240016"/>
              <a:gd name="connsiteX3" fmla="*/ 6857999 w 6857999"/>
              <a:gd name="connsiteY3" fmla="*/ 4248395 h 6240016"/>
              <a:gd name="connsiteX4" fmla="*/ 6815497 w 6857999"/>
              <a:gd name="connsiteY4" fmla="*/ 4209614 h 6240016"/>
              <a:gd name="connsiteX5" fmla="*/ 5134707 w 6857999"/>
              <a:gd name="connsiteY5" fmla="*/ 3984163 h 6240016"/>
              <a:gd name="connsiteX6" fmla="*/ 2767903 w 6857999"/>
              <a:gd name="connsiteY6" fmla="*/ 5342723 h 6240016"/>
              <a:gd name="connsiteX7" fmla="*/ 1497189 w 6857999"/>
              <a:gd name="connsiteY7" fmla="*/ 6201822 h 6240016"/>
              <a:gd name="connsiteX8" fmla="*/ 1393480 w 6857999"/>
              <a:gd name="connsiteY8" fmla="*/ 6240016 h 6240016"/>
              <a:gd name="connsiteX9" fmla="*/ 0 w 6857999"/>
              <a:gd name="connsiteY9" fmla="*/ 618342 h 6240016"/>
              <a:gd name="connsiteX10" fmla="*/ 0 w 6857999"/>
              <a:gd name="connsiteY10" fmla="*/ 6240016 h 6240016"/>
              <a:gd name="connsiteX11" fmla="*/ 921827 w 6857999"/>
              <a:gd name="connsiteY11" fmla="*/ 6240016 h 6240016"/>
              <a:gd name="connsiteX12" fmla="*/ 877464 w 6857999"/>
              <a:gd name="connsiteY12" fmla="*/ 6206986 h 6240016"/>
              <a:gd name="connsiteX13" fmla="*/ 1720124 w 6857999"/>
              <a:gd name="connsiteY13" fmla="*/ 3319666 h 6240016"/>
              <a:gd name="connsiteX14" fmla="*/ 1778012 w 6857999"/>
              <a:gd name="connsiteY14" fmla="*/ 0 h 6240016"/>
              <a:gd name="connsiteX15" fmla="*/ 36658 w 6857999"/>
              <a:gd name="connsiteY15" fmla="*/ 619001 h 6240016"/>
              <a:gd name="connsiteX16" fmla="*/ 0 w 6857999"/>
              <a:gd name="connsiteY16" fmla="*/ 618342 h 6240016"/>
              <a:gd name="connsiteX0" fmla="*/ 1393480 w 6857999"/>
              <a:gd name="connsiteY0" fmla="*/ 6240016 h 6240016"/>
              <a:gd name="connsiteX1" fmla="*/ 5099537 w 6857999"/>
              <a:gd name="connsiteY1" fmla="*/ 6234993 h 6240016"/>
              <a:gd name="connsiteX2" fmla="*/ 6857999 w 6857999"/>
              <a:gd name="connsiteY2" fmla="*/ 6240016 h 6240016"/>
              <a:gd name="connsiteX3" fmla="*/ 6857999 w 6857999"/>
              <a:gd name="connsiteY3" fmla="*/ 4248395 h 6240016"/>
              <a:gd name="connsiteX4" fmla="*/ 5134707 w 6857999"/>
              <a:gd name="connsiteY4" fmla="*/ 3984163 h 6240016"/>
              <a:gd name="connsiteX5" fmla="*/ 2767903 w 6857999"/>
              <a:gd name="connsiteY5" fmla="*/ 5342723 h 6240016"/>
              <a:gd name="connsiteX6" fmla="*/ 1497189 w 6857999"/>
              <a:gd name="connsiteY6" fmla="*/ 6201822 h 6240016"/>
              <a:gd name="connsiteX7" fmla="*/ 1393480 w 6857999"/>
              <a:gd name="connsiteY7" fmla="*/ 6240016 h 6240016"/>
              <a:gd name="connsiteX8" fmla="*/ 0 w 6857999"/>
              <a:gd name="connsiteY8" fmla="*/ 618342 h 6240016"/>
              <a:gd name="connsiteX9" fmla="*/ 0 w 6857999"/>
              <a:gd name="connsiteY9" fmla="*/ 6240016 h 6240016"/>
              <a:gd name="connsiteX10" fmla="*/ 921827 w 6857999"/>
              <a:gd name="connsiteY10" fmla="*/ 6240016 h 6240016"/>
              <a:gd name="connsiteX11" fmla="*/ 877464 w 6857999"/>
              <a:gd name="connsiteY11" fmla="*/ 6206986 h 6240016"/>
              <a:gd name="connsiteX12" fmla="*/ 1720124 w 6857999"/>
              <a:gd name="connsiteY12" fmla="*/ 3319666 h 6240016"/>
              <a:gd name="connsiteX13" fmla="*/ 1778012 w 6857999"/>
              <a:gd name="connsiteY13" fmla="*/ 0 h 6240016"/>
              <a:gd name="connsiteX14" fmla="*/ 36658 w 6857999"/>
              <a:gd name="connsiteY14" fmla="*/ 619001 h 6240016"/>
              <a:gd name="connsiteX15" fmla="*/ 0 w 6857999"/>
              <a:gd name="connsiteY15" fmla="*/ 618342 h 6240016"/>
              <a:gd name="connsiteX0" fmla="*/ 1393480 w 6857999"/>
              <a:gd name="connsiteY0" fmla="*/ 6240016 h 6240016"/>
              <a:gd name="connsiteX1" fmla="*/ 5099537 w 6857999"/>
              <a:gd name="connsiteY1" fmla="*/ 6234993 h 6240016"/>
              <a:gd name="connsiteX2" fmla="*/ 6857999 w 6857999"/>
              <a:gd name="connsiteY2" fmla="*/ 6240016 h 6240016"/>
              <a:gd name="connsiteX3" fmla="*/ 5134707 w 6857999"/>
              <a:gd name="connsiteY3" fmla="*/ 3984163 h 6240016"/>
              <a:gd name="connsiteX4" fmla="*/ 2767903 w 6857999"/>
              <a:gd name="connsiteY4" fmla="*/ 5342723 h 6240016"/>
              <a:gd name="connsiteX5" fmla="*/ 1497189 w 6857999"/>
              <a:gd name="connsiteY5" fmla="*/ 6201822 h 6240016"/>
              <a:gd name="connsiteX6" fmla="*/ 1393480 w 6857999"/>
              <a:gd name="connsiteY6" fmla="*/ 6240016 h 6240016"/>
              <a:gd name="connsiteX7" fmla="*/ 0 w 6857999"/>
              <a:gd name="connsiteY7" fmla="*/ 618342 h 6240016"/>
              <a:gd name="connsiteX8" fmla="*/ 0 w 6857999"/>
              <a:gd name="connsiteY8" fmla="*/ 6240016 h 6240016"/>
              <a:gd name="connsiteX9" fmla="*/ 921827 w 6857999"/>
              <a:gd name="connsiteY9" fmla="*/ 6240016 h 6240016"/>
              <a:gd name="connsiteX10" fmla="*/ 877464 w 6857999"/>
              <a:gd name="connsiteY10" fmla="*/ 6206986 h 6240016"/>
              <a:gd name="connsiteX11" fmla="*/ 1720124 w 6857999"/>
              <a:gd name="connsiteY11" fmla="*/ 3319666 h 6240016"/>
              <a:gd name="connsiteX12" fmla="*/ 1778012 w 6857999"/>
              <a:gd name="connsiteY12" fmla="*/ 0 h 6240016"/>
              <a:gd name="connsiteX13" fmla="*/ 36658 w 6857999"/>
              <a:gd name="connsiteY13" fmla="*/ 619001 h 6240016"/>
              <a:gd name="connsiteX14" fmla="*/ 0 w 6857999"/>
              <a:gd name="connsiteY14" fmla="*/ 618342 h 6240016"/>
              <a:gd name="connsiteX0" fmla="*/ 1393480 w 5134707"/>
              <a:gd name="connsiteY0" fmla="*/ 6240016 h 6240016"/>
              <a:gd name="connsiteX1" fmla="*/ 5099537 w 5134707"/>
              <a:gd name="connsiteY1" fmla="*/ 6234993 h 6240016"/>
              <a:gd name="connsiteX2" fmla="*/ 5134707 w 5134707"/>
              <a:gd name="connsiteY2" fmla="*/ 3984163 h 6240016"/>
              <a:gd name="connsiteX3" fmla="*/ 2767903 w 5134707"/>
              <a:gd name="connsiteY3" fmla="*/ 5342723 h 6240016"/>
              <a:gd name="connsiteX4" fmla="*/ 1497189 w 5134707"/>
              <a:gd name="connsiteY4" fmla="*/ 6201822 h 6240016"/>
              <a:gd name="connsiteX5" fmla="*/ 1393480 w 5134707"/>
              <a:gd name="connsiteY5" fmla="*/ 6240016 h 6240016"/>
              <a:gd name="connsiteX6" fmla="*/ 0 w 5134707"/>
              <a:gd name="connsiteY6" fmla="*/ 618342 h 6240016"/>
              <a:gd name="connsiteX7" fmla="*/ 0 w 5134707"/>
              <a:gd name="connsiteY7" fmla="*/ 6240016 h 6240016"/>
              <a:gd name="connsiteX8" fmla="*/ 921827 w 5134707"/>
              <a:gd name="connsiteY8" fmla="*/ 6240016 h 6240016"/>
              <a:gd name="connsiteX9" fmla="*/ 877464 w 5134707"/>
              <a:gd name="connsiteY9" fmla="*/ 6206986 h 6240016"/>
              <a:gd name="connsiteX10" fmla="*/ 1720124 w 5134707"/>
              <a:gd name="connsiteY10" fmla="*/ 3319666 h 6240016"/>
              <a:gd name="connsiteX11" fmla="*/ 1778012 w 5134707"/>
              <a:gd name="connsiteY11" fmla="*/ 0 h 6240016"/>
              <a:gd name="connsiteX12" fmla="*/ 36658 w 5134707"/>
              <a:gd name="connsiteY12" fmla="*/ 619001 h 6240016"/>
              <a:gd name="connsiteX13" fmla="*/ 0 w 5134707"/>
              <a:gd name="connsiteY13" fmla="*/ 618342 h 6240016"/>
              <a:gd name="connsiteX0" fmla="*/ 1393480 w 5149779"/>
              <a:gd name="connsiteY0" fmla="*/ 6240016 h 6240016"/>
              <a:gd name="connsiteX1" fmla="*/ 5149779 w 5149779"/>
              <a:gd name="connsiteY1" fmla="*/ 6234993 h 6240016"/>
              <a:gd name="connsiteX2" fmla="*/ 5134707 w 5149779"/>
              <a:gd name="connsiteY2" fmla="*/ 3984163 h 6240016"/>
              <a:gd name="connsiteX3" fmla="*/ 2767903 w 5149779"/>
              <a:gd name="connsiteY3" fmla="*/ 5342723 h 6240016"/>
              <a:gd name="connsiteX4" fmla="*/ 1497189 w 5149779"/>
              <a:gd name="connsiteY4" fmla="*/ 6201822 h 6240016"/>
              <a:gd name="connsiteX5" fmla="*/ 1393480 w 5149779"/>
              <a:gd name="connsiteY5" fmla="*/ 6240016 h 6240016"/>
              <a:gd name="connsiteX6" fmla="*/ 0 w 5149779"/>
              <a:gd name="connsiteY6" fmla="*/ 618342 h 6240016"/>
              <a:gd name="connsiteX7" fmla="*/ 0 w 5149779"/>
              <a:gd name="connsiteY7" fmla="*/ 6240016 h 6240016"/>
              <a:gd name="connsiteX8" fmla="*/ 921827 w 5149779"/>
              <a:gd name="connsiteY8" fmla="*/ 6240016 h 6240016"/>
              <a:gd name="connsiteX9" fmla="*/ 877464 w 5149779"/>
              <a:gd name="connsiteY9" fmla="*/ 6206986 h 6240016"/>
              <a:gd name="connsiteX10" fmla="*/ 1720124 w 5149779"/>
              <a:gd name="connsiteY10" fmla="*/ 3319666 h 6240016"/>
              <a:gd name="connsiteX11" fmla="*/ 1778012 w 5149779"/>
              <a:gd name="connsiteY11" fmla="*/ 0 h 6240016"/>
              <a:gd name="connsiteX12" fmla="*/ 36658 w 5149779"/>
              <a:gd name="connsiteY12" fmla="*/ 619001 h 6240016"/>
              <a:gd name="connsiteX13" fmla="*/ 0 w 5149779"/>
              <a:gd name="connsiteY13" fmla="*/ 618342 h 6240016"/>
              <a:gd name="connsiteX0" fmla="*/ 1393480 w 5149780"/>
              <a:gd name="connsiteY0" fmla="*/ 6240016 h 6240016"/>
              <a:gd name="connsiteX1" fmla="*/ 5149779 w 5149780"/>
              <a:gd name="connsiteY1" fmla="*/ 6234993 h 6240016"/>
              <a:gd name="connsiteX2" fmla="*/ 5149780 w 5149780"/>
              <a:gd name="connsiteY2" fmla="*/ 3984163 h 6240016"/>
              <a:gd name="connsiteX3" fmla="*/ 2767903 w 5149780"/>
              <a:gd name="connsiteY3" fmla="*/ 5342723 h 6240016"/>
              <a:gd name="connsiteX4" fmla="*/ 1497189 w 5149780"/>
              <a:gd name="connsiteY4" fmla="*/ 6201822 h 6240016"/>
              <a:gd name="connsiteX5" fmla="*/ 1393480 w 5149780"/>
              <a:gd name="connsiteY5" fmla="*/ 6240016 h 6240016"/>
              <a:gd name="connsiteX6" fmla="*/ 0 w 5149780"/>
              <a:gd name="connsiteY6" fmla="*/ 618342 h 6240016"/>
              <a:gd name="connsiteX7" fmla="*/ 0 w 5149780"/>
              <a:gd name="connsiteY7" fmla="*/ 6240016 h 6240016"/>
              <a:gd name="connsiteX8" fmla="*/ 921827 w 5149780"/>
              <a:gd name="connsiteY8" fmla="*/ 6240016 h 6240016"/>
              <a:gd name="connsiteX9" fmla="*/ 877464 w 5149780"/>
              <a:gd name="connsiteY9" fmla="*/ 6206986 h 6240016"/>
              <a:gd name="connsiteX10" fmla="*/ 1720124 w 5149780"/>
              <a:gd name="connsiteY10" fmla="*/ 3319666 h 6240016"/>
              <a:gd name="connsiteX11" fmla="*/ 1778012 w 5149780"/>
              <a:gd name="connsiteY11" fmla="*/ 0 h 6240016"/>
              <a:gd name="connsiteX12" fmla="*/ 36658 w 5149780"/>
              <a:gd name="connsiteY12" fmla="*/ 619001 h 6240016"/>
              <a:gd name="connsiteX13" fmla="*/ 0 w 5149780"/>
              <a:gd name="connsiteY13" fmla="*/ 618342 h 6240016"/>
              <a:gd name="connsiteX0" fmla="*/ 1393480 w 5149780"/>
              <a:gd name="connsiteY0" fmla="*/ 6240016 h 6240016"/>
              <a:gd name="connsiteX1" fmla="*/ 5149779 w 5149780"/>
              <a:gd name="connsiteY1" fmla="*/ 6234993 h 6240016"/>
              <a:gd name="connsiteX2" fmla="*/ 5149780 w 5149780"/>
              <a:gd name="connsiteY2" fmla="*/ 3984163 h 6240016"/>
              <a:gd name="connsiteX3" fmla="*/ 2767903 w 5149780"/>
              <a:gd name="connsiteY3" fmla="*/ 5342723 h 6240016"/>
              <a:gd name="connsiteX4" fmla="*/ 1497189 w 5149780"/>
              <a:gd name="connsiteY4" fmla="*/ 6201822 h 6240016"/>
              <a:gd name="connsiteX5" fmla="*/ 1393480 w 5149780"/>
              <a:gd name="connsiteY5" fmla="*/ 6240016 h 6240016"/>
              <a:gd name="connsiteX6" fmla="*/ 0 w 5149780"/>
              <a:gd name="connsiteY6" fmla="*/ 618342 h 6240016"/>
              <a:gd name="connsiteX7" fmla="*/ 0 w 5149780"/>
              <a:gd name="connsiteY7" fmla="*/ 6240016 h 6240016"/>
              <a:gd name="connsiteX8" fmla="*/ 921827 w 5149780"/>
              <a:gd name="connsiteY8" fmla="*/ 6240016 h 6240016"/>
              <a:gd name="connsiteX9" fmla="*/ 877464 w 5149780"/>
              <a:gd name="connsiteY9" fmla="*/ 6206986 h 6240016"/>
              <a:gd name="connsiteX10" fmla="*/ 1720124 w 5149780"/>
              <a:gd name="connsiteY10" fmla="*/ 3319666 h 6240016"/>
              <a:gd name="connsiteX11" fmla="*/ 1778012 w 5149780"/>
              <a:gd name="connsiteY11" fmla="*/ 0 h 6240016"/>
              <a:gd name="connsiteX12" fmla="*/ 36658 w 5149780"/>
              <a:gd name="connsiteY12" fmla="*/ 619001 h 6240016"/>
              <a:gd name="connsiteX13" fmla="*/ 0 w 5149780"/>
              <a:gd name="connsiteY13" fmla="*/ 618342 h 6240016"/>
              <a:gd name="connsiteX0" fmla="*/ 1393480 w 5149780"/>
              <a:gd name="connsiteY0" fmla="*/ 6240016 h 6240016"/>
              <a:gd name="connsiteX1" fmla="*/ 5149779 w 5149780"/>
              <a:gd name="connsiteY1" fmla="*/ 6234993 h 6240016"/>
              <a:gd name="connsiteX2" fmla="*/ 5149780 w 5149780"/>
              <a:gd name="connsiteY2" fmla="*/ 3984163 h 6240016"/>
              <a:gd name="connsiteX3" fmla="*/ 2767903 w 5149780"/>
              <a:gd name="connsiteY3" fmla="*/ 5342723 h 6240016"/>
              <a:gd name="connsiteX4" fmla="*/ 1497189 w 5149780"/>
              <a:gd name="connsiteY4" fmla="*/ 6201822 h 6240016"/>
              <a:gd name="connsiteX5" fmla="*/ 1393480 w 5149780"/>
              <a:gd name="connsiteY5" fmla="*/ 6240016 h 6240016"/>
              <a:gd name="connsiteX6" fmla="*/ 0 w 5149780"/>
              <a:gd name="connsiteY6" fmla="*/ 618342 h 6240016"/>
              <a:gd name="connsiteX7" fmla="*/ 0 w 5149780"/>
              <a:gd name="connsiteY7" fmla="*/ 6240016 h 6240016"/>
              <a:gd name="connsiteX8" fmla="*/ 921827 w 5149780"/>
              <a:gd name="connsiteY8" fmla="*/ 6240016 h 6240016"/>
              <a:gd name="connsiteX9" fmla="*/ 877464 w 5149780"/>
              <a:gd name="connsiteY9" fmla="*/ 6206986 h 6240016"/>
              <a:gd name="connsiteX10" fmla="*/ 1720124 w 5149780"/>
              <a:gd name="connsiteY10" fmla="*/ 3319666 h 6240016"/>
              <a:gd name="connsiteX11" fmla="*/ 1778012 w 5149780"/>
              <a:gd name="connsiteY11" fmla="*/ 0 h 6240016"/>
              <a:gd name="connsiteX12" fmla="*/ 36658 w 5149780"/>
              <a:gd name="connsiteY12" fmla="*/ 619001 h 6240016"/>
              <a:gd name="connsiteX13" fmla="*/ 0 w 5149780"/>
              <a:gd name="connsiteY13" fmla="*/ 618342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49780" h="6240016">
                <a:moveTo>
                  <a:pt x="1393480" y="6240016"/>
                </a:moveTo>
                <a:lnTo>
                  <a:pt x="5149779" y="6234993"/>
                </a:lnTo>
                <a:cubicBezTo>
                  <a:pt x="5149779" y="5484716"/>
                  <a:pt x="5149780" y="4734440"/>
                  <a:pt x="5149780" y="3984163"/>
                </a:cubicBezTo>
                <a:cubicBezTo>
                  <a:pt x="3520588" y="4384034"/>
                  <a:pt x="3215893" y="4963068"/>
                  <a:pt x="2767903" y="5342723"/>
                </a:cubicBezTo>
                <a:cubicBezTo>
                  <a:pt x="2224582" y="5803167"/>
                  <a:pt x="1804503" y="6071896"/>
                  <a:pt x="1497189" y="6201822"/>
                </a:cubicBezTo>
                <a:lnTo>
                  <a:pt x="1393480" y="6240016"/>
                </a:ln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lnTo>
                  <a:pt x="0" y="618342"/>
                </a:lnTo>
                <a:close/>
              </a:path>
            </a:pathLst>
          </a:custGeom>
          <a:solidFill>
            <a:srgbClr val="8EC63E"/>
          </a:solidFill>
          <a:ln>
            <a:noFill/>
          </a:ln>
        </p:spPr>
        <p:txBody>
          <a:bodyPr vert="horz" wrap="square" lIns="121920" tIns="60960" rIns="121920" bIns="60960" numCol="1" anchor="t" anchorCtr="0" compatLnSpc="1">
            <a:prstTxWarp prst="textNoShape">
              <a:avLst/>
            </a:prstTxWarp>
            <a:noAutofit/>
          </a:bodyPr>
          <a:lstStyle/>
          <a:p>
            <a:endParaRPr lang="en-US" sz="2844" dirty="0"/>
          </a:p>
        </p:txBody>
      </p:sp>
      <p:pic>
        <p:nvPicPr>
          <p:cNvPr id="14"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11333051" y="251520"/>
            <a:ext cx="565808" cy="612832"/>
          </a:xfrm>
          <a:prstGeom prst="rect">
            <a:avLst/>
          </a:prstGeom>
        </p:spPr>
      </p:pic>
      <p:sp>
        <p:nvSpPr>
          <p:cNvPr id="15" name="Titre 1"/>
          <p:cNvSpPr>
            <a:spLocks noGrp="1"/>
          </p:cNvSpPr>
          <p:nvPr>
            <p:ph type="title" hasCustomPrompt="1"/>
            <p:custDataLst>
              <p:tags r:id="rId1"/>
            </p:custDataLst>
          </p:nvPr>
        </p:nvSpPr>
        <p:spPr>
          <a:xfrm>
            <a:off x="716280" y="4401831"/>
            <a:ext cx="6121400" cy="1199092"/>
          </a:xfrm>
          <a:prstGeom prst="rect">
            <a:avLst/>
          </a:prstGeom>
        </p:spPr>
        <p:txBody>
          <a:bodyPr vert="horz" lIns="0" tIns="33059" rIns="66118" bIns="33059" rtlCol="0" anchor="ctr" anchorCtr="0">
            <a:noAutofit/>
          </a:bodyPr>
          <a:lstStyle>
            <a:lvl1pPr algn="l" defTabSz="1219092" rtl="0" eaLnBrk="1" latinLnBrk="0" hangingPunct="1">
              <a:spcBef>
                <a:spcPct val="0"/>
              </a:spcBef>
              <a:buNone/>
              <a:defRPr lang="en-US" sz="3600" b="0" kern="1200" cap="none" baseline="0" dirty="0" smtClean="0">
                <a:solidFill>
                  <a:srgbClr val="12ABDB"/>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noProof="0" dirty="0"/>
              <a:t>Click to edit Master </a:t>
            </a:r>
            <a:br>
              <a:rPr lang="en-US" noProof="0" dirty="0"/>
            </a:br>
            <a:r>
              <a:rPr lang="en-US" noProof="0" dirty="0"/>
              <a:t>text style</a:t>
            </a:r>
          </a:p>
        </p:txBody>
      </p:sp>
      <p:sp>
        <p:nvSpPr>
          <p:cNvPr id="16" name="Text Placeholder 5"/>
          <p:cNvSpPr>
            <a:spLocks noGrp="1"/>
          </p:cNvSpPr>
          <p:nvPr>
            <p:ph type="body" sz="quarter" idx="10"/>
          </p:nvPr>
        </p:nvSpPr>
        <p:spPr>
          <a:xfrm>
            <a:off x="716280" y="5706992"/>
            <a:ext cx="6121400" cy="410369"/>
          </a:xfrm>
        </p:spPr>
        <p:txBody>
          <a:bodyPr lIns="0"/>
          <a:lstStyle>
            <a:lvl1pPr marL="0" indent="0" algn="l">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buNone/>
              <a:defRPr/>
            </a:lvl2pPr>
            <a:lvl3pPr>
              <a:buNone/>
              <a:defRPr/>
            </a:lvl3pPr>
            <a:lvl4pPr>
              <a:buNone/>
              <a:defRPr/>
            </a:lvl4pPr>
            <a:lvl5pPr>
              <a:buNone/>
              <a:defRPr/>
            </a:lvl5pPr>
          </a:lstStyle>
          <a:p>
            <a:pPr lvl="0"/>
            <a:r>
              <a:rPr lang="en-US" dirty="0"/>
              <a:t>Click to edit Master text styles</a:t>
            </a:r>
          </a:p>
        </p:txBody>
      </p:sp>
    </p:spTree>
    <p:extLst>
      <p:ext uri="{BB962C8B-B14F-4D97-AF65-F5344CB8AC3E}">
        <p14:creationId xmlns:p14="http://schemas.microsoft.com/office/powerpoint/2010/main" val="128159473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1_Section break 3">
    <p:spTree>
      <p:nvGrpSpPr>
        <p:cNvPr id="1" name=""/>
        <p:cNvGrpSpPr/>
        <p:nvPr/>
      </p:nvGrpSpPr>
      <p:grpSpPr>
        <a:xfrm>
          <a:off x="0" y="0"/>
          <a:ext cx="0" cy="0"/>
          <a:chOff x="0" y="0"/>
          <a:chExt cx="0" cy="0"/>
        </a:xfrm>
      </p:grpSpPr>
      <p:pic>
        <p:nvPicPr>
          <p:cNvPr id="9" name="Picture Placeholder 2"/>
          <p:cNvPicPr>
            <a:picLocks noChangeAspect="1"/>
          </p:cNvPicPr>
          <p:nvPr/>
        </p:nvPicPr>
        <p:blipFill rotWithShape="1">
          <a:blip r:embed="rId4" cstate="print">
            <a:extLst>
              <a:ext uri="{28A0092B-C50C-407E-A947-70E740481C1C}">
                <a14:useLocalDpi xmlns:a14="http://schemas.microsoft.com/office/drawing/2010/main" val="0"/>
              </a:ext>
            </a:extLst>
          </a:blip>
          <a:srcRect l="1740" t="18900" r="1740"/>
          <a:stretch/>
        </p:blipFill>
        <p:spPr>
          <a:xfrm>
            <a:off x="3174" y="0"/>
            <a:ext cx="12230232" cy="6859588"/>
          </a:xfrm>
          <a:prstGeom prst="rect">
            <a:avLst/>
          </a:prstGeom>
        </p:spPr>
      </p:pic>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2770" name="think-cell Slide" r:id="rId5" imgW="270" imgH="270" progId="TCLayout.ActiveDocument.1">
                  <p:embed/>
                </p:oleObj>
              </mc:Choice>
              <mc:Fallback>
                <p:oleObj name="think-cell Slide" r:id="rId5" imgW="270" imgH="270" progId="TCLayout.ActiveDocument.1">
                  <p:embed/>
                  <p:pic>
                    <p:nvPicPr>
                      <p:cNvPr id="10" name="Object 9"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6">
            <a:extLst>
              <a:ext uri="{FF2B5EF4-FFF2-40B4-BE49-F238E27FC236}">
                <a16:creationId xmlns:a16="http://schemas.microsoft.com/office/drawing/2014/main" id="{631F0F0A-472B-4CAB-88F4-DEDA90391D49}"/>
              </a:ext>
            </a:extLst>
          </p:cNvPr>
          <p:cNvSpPr>
            <a:spLocks/>
          </p:cNvSpPr>
          <p:nvPr/>
        </p:nvSpPr>
        <p:spPr bwMode="auto">
          <a:xfrm flipV="1">
            <a:off x="4089400" y="1771574"/>
            <a:ext cx="8140700" cy="5086426"/>
          </a:xfrm>
          <a:custGeom>
            <a:avLst/>
            <a:gdLst/>
            <a:ahLst/>
            <a:cxnLst>
              <a:cxn ang="0">
                <a:pos x="1871" y="215"/>
              </a:cxn>
              <a:cxn ang="0">
                <a:pos x="1871" y="223"/>
              </a:cxn>
              <a:cxn ang="0">
                <a:pos x="1868" y="226"/>
              </a:cxn>
              <a:cxn ang="0">
                <a:pos x="1857" y="280"/>
              </a:cxn>
              <a:cxn ang="0">
                <a:pos x="1803" y="433"/>
              </a:cxn>
              <a:cxn ang="0">
                <a:pos x="1706" y="562"/>
              </a:cxn>
              <a:cxn ang="0">
                <a:pos x="1530" y="646"/>
              </a:cxn>
              <a:cxn ang="0">
                <a:pos x="1442" y="654"/>
              </a:cxn>
              <a:cxn ang="0">
                <a:pos x="1431" y="649"/>
              </a:cxn>
              <a:cxn ang="0">
                <a:pos x="1374" y="588"/>
              </a:cxn>
              <a:cxn ang="0">
                <a:pos x="1221" y="521"/>
              </a:cxn>
              <a:cxn ang="0">
                <a:pos x="1005" y="471"/>
              </a:cxn>
              <a:cxn ang="0">
                <a:pos x="680" y="410"/>
              </a:cxn>
              <a:cxn ang="0">
                <a:pos x="399" y="335"/>
              </a:cxn>
              <a:cxn ang="0">
                <a:pos x="173" y="224"/>
              </a:cxn>
              <a:cxn ang="0">
                <a:pos x="12" y="36"/>
              </a:cxn>
              <a:cxn ang="0">
                <a:pos x="1" y="0"/>
              </a:cxn>
              <a:cxn ang="0">
                <a:pos x="49" y="0"/>
              </a:cxn>
              <a:cxn ang="0">
                <a:pos x="1856" y="0"/>
              </a:cxn>
              <a:cxn ang="0">
                <a:pos x="1869" y="13"/>
              </a:cxn>
              <a:cxn ang="0">
                <a:pos x="1869" y="205"/>
              </a:cxn>
              <a:cxn ang="0">
                <a:pos x="1871" y="215"/>
              </a:cxn>
            </a:cxnLst>
            <a:rect l="0" t="0" r="r" b="b"/>
            <a:pathLst>
              <a:path w="1871" h="654">
                <a:moveTo>
                  <a:pt x="1871" y="215"/>
                </a:moveTo>
                <a:cubicBezTo>
                  <a:pt x="1871" y="217"/>
                  <a:pt x="1871" y="220"/>
                  <a:pt x="1871" y="223"/>
                </a:cubicBezTo>
                <a:cubicBezTo>
                  <a:pt x="1869" y="223"/>
                  <a:pt x="1869" y="225"/>
                  <a:pt x="1868" y="226"/>
                </a:cubicBezTo>
                <a:cubicBezTo>
                  <a:pt x="1865" y="244"/>
                  <a:pt x="1861" y="262"/>
                  <a:pt x="1857" y="280"/>
                </a:cubicBezTo>
                <a:cubicBezTo>
                  <a:pt x="1845" y="333"/>
                  <a:pt x="1828" y="384"/>
                  <a:pt x="1803" y="433"/>
                </a:cubicBezTo>
                <a:cubicBezTo>
                  <a:pt x="1778" y="482"/>
                  <a:pt x="1747" y="525"/>
                  <a:pt x="1706" y="562"/>
                </a:cubicBezTo>
                <a:cubicBezTo>
                  <a:pt x="1656" y="607"/>
                  <a:pt x="1597" y="635"/>
                  <a:pt x="1530" y="646"/>
                </a:cubicBezTo>
                <a:cubicBezTo>
                  <a:pt x="1501" y="652"/>
                  <a:pt x="1472" y="654"/>
                  <a:pt x="1442" y="654"/>
                </a:cubicBezTo>
                <a:cubicBezTo>
                  <a:pt x="1437" y="654"/>
                  <a:pt x="1434" y="653"/>
                  <a:pt x="1431" y="649"/>
                </a:cubicBezTo>
                <a:cubicBezTo>
                  <a:pt x="1417" y="623"/>
                  <a:pt x="1397" y="604"/>
                  <a:pt x="1374" y="588"/>
                </a:cubicBezTo>
                <a:cubicBezTo>
                  <a:pt x="1327" y="556"/>
                  <a:pt x="1274" y="537"/>
                  <a:pt x="1221" y="521"/>
                </a:cubicBezTo>
                <a:cubicBezTo>
                  <a:pt x="1150" y="500"/>
                  <a:pt x="1078" y="485"/>
                  <a:pt x="1005" y="471"/>
                </a:cubicBezTo>
                <a:cubicBezTo>
                  <a:pt x="897" y="450"/>
                  <a:pt x="788" y="432"/>
                  <a:pt x="680" y="410"/>
                </a:cubicBezTo>
                <a:cubicBezTo>
                  <a:pt x="585" y="390"/>
                  <a:pt x="490" y="367"/>
                  <a:pt x="399" y="335"/>
                </a:cubicBezTo>
                <a:cubicBezTo>
                  <a:pt x="319" y="307"/>
                  <a:pt x="243" y="272"/>
                  <a:pt x="173" y="224"/>
                </a:cubicBezTo>
                <a:cubicBezTo>
                  <a:pt x="104" y="175"/>
                  <a:pt x="47" y="114"/>
                  <a:pt x="12" y="36"/>
                </a:cubicBezTo>
                <a:cubicBezTo>
                  <a:pt x="7" y="24"/>
                  <a:pt x="0" y="13"/>
                  <a:pt x="1" y="0"/>
                </a:cubicBezTo>
                <a:cubicBezTo>
                  <a:pt x="17" y="0"/>
                  <a:pt x="33" y="0"/>
                  <a:pt x="49" y="0"/>
                </a:cubicBezTo>
                <a:cubicBezTo>
                  <a:pt x="651" y="0"/>
                  <a:pt x="1254" y="0"/>
                  <a:pt x="1856" y="0"/>
                </a:cubicBezTo>
                <a:cubicBezTo>
                  <a:pt x="1869" y="0"/>
                  <a:pt x="1869" y="0"/>
                  <a:pt x="1869" y="13"/>
                </a:cubicBezTo>
                <a:cubicBezTo>
                  <a:pt x="1869" y="77"/>
                  <a:pt x="1869" y="141"/>
                  <a:pt x="1869" y="205"/>
                </a:cubicBezTo>
                <a:cubicBezTo>
                  <a:pt x="1869" y="208"/>
                  <a:pt x="1868" y="212"/>
                  <a:pt x="1871" y="215"/>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6226508" y="4574713"/>
            <a:ext cx="5419268"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410874269"/>
      </p:ext>
    </p:extLst>
  </p:cSld>
  <p:clrMapOvr>
    <a:masterClrMapping/>
  </p:clrMapOvr>
  <p:extLst>
    <p:ext uri="{DCECCB84-F9BA-43D5-87BE-67443E8EF086}">
      <p15:sldGuideLst xmlns:p15="http://schemas.microsoft.com/office/powerpoint/2012/main">
        <p15:guide id="1" pos="279">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_Title with Lead Line &amp; Bulleted List">
    <p:spTree>
      <p:nvGrpSpPr>
        <p:cNvPr id="1" name=""/>
        <p:cNvGrpSpPr/>
        <p:nvPr/>
      </p:nvGrpSpPr>
      <p:grpSpPr>
        <a:xfrm>
          <a:off x="0" y="0"/>
          <a:ext cx="0" cy="0"/>
          <a:chOff x="0" y="0"/>
          <a:chExt cx="0" cy="0"/>
        </a:xfrm>
      </p:grpSpPr>
      <p:sp>
        <p:nvSpPr>
          <p:cNvPr id="2" name="Title 1"/>
          <p:cNvSpPr>
            <a:spLocks noGrp="1"/>
          </p:cNvSpPr>
          <p:nvPr>
            <p:ph type="title"/>
          </p:nvPr>
        </p:nvSpPr>
        <p:spPr>
          <a:xfrm>
            <a:off x="423336" y="25263"/>
            <a:ext cx="11368617" cy="822960"/>
          </a:xfrm>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423336" y="1005841"/>
            <a:ext cx="11368617" cy="1293496"/>
          </a:xfrm>
          <a:noFill/>
          <a:ln w="9525" algn="ctr">
            <a:noFill/>
            <a:miter lim="800000"/>
            <a:headEnd/>
            <a:tailEnd/>
          </a:ln>
          <a:effectLst/>
        </p:spPr>
        <p:txBody>
          <a:bodyPr vert="horz" wrap="square" lIns="0" tIns="0" rIns="0" bIns="0" numCol="1" anchor="t" anchorCtr="0" compatLnSpc="1">
            <a:prstTxWarp prst="textNoShape">
              <a:avLst/>
            </a:prstTxWarp>
            <a:spAutoFit/>
          </a:bodyPr>
          <a:lstStyle>
            <a:lvl1pPr marL="0" indent="0" algn="l" defTabSz="914382" rtl="0" eaLnBrk="0" fontAlgn="base" latinLnBrk="0" hangingPunct="0">
              <a:spcBef>
                <a:spcPct val="0"/>
              </a:spcBef>
              <a:spcAft>
                <a:spcPts val="600"/>
              </a:spcAft>
              <a:buClr>
                <a:schemeClr val="accent2"/>
              </a:buClr>
              <a:buNone/>
              <a:defRPr lang="en-US" sz="1577" b="1" kern="1200" dirty="0" smtClean="0">
                <a:solidFill>
                  <a:schemeClr val="tx1"/>
                </a:solidFill>
                <a:latin typeface="Arial" pitchFamily="34" charset="0"/>
                <a:ea typeface="+mn-ea"/>
                <a:cs typeface="Arial" pitchFamily="34" charset="0"/>
              </a:defRPr>
            </a:lvl1pPr>
            <a:lvl2pPr marL="233359" indent="-233359" algn="l" defTabSz="914382" rtl="0" eaLnBrk="0" fontAlgn="base" latinLnBrk="0" hangingPunct="0">
              <a:spcBef>
                <a:spcPct val="0"/>
              </a:spcBef>
              <a:spcAft>
                <a:spcPts val="600"/>
              </a:spcAft>
              <a:buClr>
                <a:schemeClr val="accent2"/>
              </a:buClr>
              <a:buFont typeface="Wingdings" pitchFamily="2" charset="2"/>
              <a:buChar char="§"/>
              <a:defRPr lang="en-US" sz="1577" b="0" kern="1200" dirty="0" smtClean="0">
                <a:solidFill>
                  <a:schemeClr val="tx1"/>
                </a:solidFill>
                <a:latin typeface="Arial" pitchFamily="34" charset="0"/>
                <a:ea typeface="+mn-ea"/>
                <a:cs typeface="Arial" pitchFamily="34" charset="0"/>
              </a:defRPr>
            </a:lvl2pPr>
            <a:lvl3pPr marL="457191" indent="-223834" algn="l" defTabSz="914382" rtl="0" eaLnBrk="0" fontAlgn="base" latinLnBrk="0" hangingPunct="0">
              <a:spcBef>
                <a:spcPct val="0"/>
              </a:spcBef>
              <a:spcAft>
                <a:spcPts val="600"/>
              </a:spcAft>
              <a:buClr>
                <a:schemeClr val="accent2"/>
              </a:buClr>
              <a:buFont typeface="Arial" pitchFamily="34" charset="0"/>
              <a:buChar char="–"/>
              <a:defRPr lang="en-US" sz="1427" b="0" kern="1200" dirty="0" smtClean="0">
                <a:solidFill>
                  <a:schemeClr val="tx1"/>
                </a:solidFill>
                <a:latin typeface="Arial" pitchFamily="34" charset="0"/>
                <a:ea typeface="+mn-ea"/>
                <a:cs typeface="Arial" pitchFamily="34" charset="0"/>
              </a:defRPr>
            </a:lvl3pPr>
            <a:lvl4pPr marL="690551" indent="-233359" algn="l" defTabSz="914382" rtl="0" eaLnBrk="0" fontAlgn="base" latinLnBrk="0" hangingPunct="0">
              <a:spcBef>
                <a:spcPct val="0"/>
              </a:spcBef>
              <a:spcAft>
                <a:spcPts val="600"/>
              </a:spcAft>
              <a:buClr>
                <a:schemeClr val="accent2"/>
              </a:buClr>
              <a:buFont typeface="Arial" pitchFamily="34" charset="0"/>
              <a:buChar char="•"/>
              <a:defRPr lang="en-US" sz="1201" b="0" kern="1200" dirty="0" smtClean="0">
                <a:solidFill>
                  <a:schemeClr val="tx1"/>
                </a:solidFill>
                <a:latin typeface="Arial" pitchFamily="34" charset="0"/>
                <a:ea typeface="+mn-ea"/>
                <a:cs typeface="Arial" pitchFamily="34" charset="0"/>
              </a:defRPr>
            </a:lvl4pPr>
            <a:lvl5pPr marL="914382" indent="-223834" algn="l" defTabSz="914382" rtl="0" eaLnBrk="0" fontAlgn="base" latinLnBrk="0" hangingPunct="0">
              <a:spcBef>
                <a:spcPct val="0"/>
              </a:spcBef>
              <a:spcAft>
                <a:spcPts val="600"/>
              </a:spcAft>
              <a:buClr>
                <a:schemeClr val="accent2"/>
              </a:buClr>
              <a:buFont typeface="Arial" pitchFamily="34" charset="0"/>
              <a:buChar char="–"/>
              <a:defRPr lang="en-US" sz="1201" b="0" kern="1200" dirty="0" smtClean="0">
                <a:solidFill>
                  <a:schemeClr val="tx1"/>
                </a:solidFill>
                <a:latin typeface="Arial" pitchFamily="34" charset="0"/>
                <a:ea typeface="+mn-ea"/>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090733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Master">
    <p:bg>
      <p:bgPr>
        <a:solidFill>
          <a:srgbClr val="EDEDED"/>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5122"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2400"/>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66"/>
            <a:ext cx="11793979" cy="4643751"/>
          </a:xfrm>
        </p:spPr>
        <p:txBody>
          <a:bodyPr/>
          <a:lstStyle>
            <a:lvl1pPr>
              <a:buClr>
                <a:schemeClr val="accent2"/>
              </a:buClr>
              <a:defRPr b="0"/>
            </a:lvl1pPr>
            <a:lvl2pPr marL="533387" indent="-205312">
              <a:buFont typeface="Arial" panose="020B0604020202020204" pitchFamily="34" charset="0"/>
              <a:buChar char="̶"/>
              <a:defRPr/>
            </a:lvl2pPr>
            <a:lvl3pPr marL="761981" indent="-186262">
              <a:defRPr/>
            </a:lvl3pPr>
            <a:lvl4pPr marL="990575" indent="-186262">
              <a:buFont typeface="Courier New" panose="02070309020205020404" pitchFamily="49" charset="0"/>
              <a:buChar char="o"/>
              <a:defRPr/>
            </a:lvl4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2_Vide">
    <p:bg>
      <p:bgPr>
        <a:solidFill>
          <a:srgbClr val="EDEDED"/>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6146"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7384031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Content Master">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7170"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2400"/>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66"/>
            <a:ext cx="11793979" cy="4643751"/>
          </a:xfrm>
        </p:spPr>
        <p:txBody>
          <a:bodyPr/>
          <a:lstStyle>
            <a:lvl1pPr>
              <a:buClr>
                <a:schemeClr val="accent2"/>
              </a:buClr>
              <a:defRPr b="0"/>
            </a:lvl1pPr>
            <a:lvl2pPr marL="533387" indent="-205312">
              <a:buFont typeface="Arial" panose="020B0604020202020204" pitchFamily="34" charset="0"/>
              <a:buChar char="̶"/>
              <a:defRPr/>
            </a:lvl2pPr>
            <a:lvl3pPr marL="761981" indent="-186262">
              <a:defRPr/>
            </a:lvl3pPr>
            <a:lvl4pPr marL="990575" indent="-186262">
              <a:buFont typeface="Courier New" panose="02070309020205020404" pitchFamily="49" charset="0"/>
              <a:buChar char="o"/>
              <a:defRPr/>
            </a:lvl4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8931335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3_Vide">
    <p:bg>
      <p:bgPr>
        <a:solidFill>
          <a:schemeClr val="bg1"/>
        </a:solidFill>
        <a:effectLst/>
      </p:bgPr>
    </p:bg>
    <p:spTree>
      <p:nvGrpSpPr>
        <p:cNvPr id="1" name=""/>
        <p:cNvGrpSpPr/>
        <p:nvPr/>
      </p:nvGrpSpPr>
      <p:grpSpPr>
        <a:xfrm>
          <a:off x="0" y="0"/>
          <a:ext cx="0" cy="0"/>
          <a:chOff x="0" y="0"/>
          <a:chExt cx="0" cy="0"/>
        </a:xfrm>
      </p:grpSpPr>
      <p:pic>
        <p:nvPicPr>
          <p:cNvPr id="3" name="Picture 2" descr="shutterstock_130421918.jpg">
            <a:extLst>
              <a:ext uri="{FF2B5EF4-FFF2-40B4-BE49-F238E27FC236}">
                <a16:creationId xmlns:a16="http://schemas.microsoft.com/office/drawing/2014/main" id="{E7D17FCE-22C2-42C6-A813-F7139557DAD4}"/>
              </a:ext>
            </a:extLst>
          </p:cNvPr>
          <p:cNvPicPr>
            <a:picLocks noChangeAspect="1"/>
          </p:cNvPicPr>
          <p:nvPr userDrawn="1"/>
        </p:nvPicPr>
        <p:blipFill rotWithShape="1">
          <a:blip r:embed="rId5" cstate="print"/>
          <a:srcRect l="5503" t="19738" b="9063"/>
          <a:stretch/>
        </p:blipFill>
        <p:spPr>
          <a:xfrm>
            <a:off x="3417" y="549603"/>
            <a:ext cx="12198416" cy="6308397"/>
          </a:xfrm>
          <a:prstGeom prst="rect">
            <a:avLst/>
          </a:prstGeom>
        </p:spPr>
      </p:pic>
      <p:graphicFrame>
        <p:nvGraphicFramePr>
          <p:cNvPr id="2" name="Object 1"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8194" name="think-cell Slide" r:id="rId6" imgW="360" imgH="360" progId="">
                  <p:embed/>
                </p:oleObj>
              </mc:Choice>
              <mc:Fallback>
                <p:oleObj name="think-cell Slide" r:id="rId6" imgW="360" imgH="360" progId="">
                  <p:embed/>
                  <p:pic>
                    <p:nvPicPr>
                      <p:cNvPr id="2" name="Object 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1" name="Graphic 4">
            <a:extLst>
              <a:ext uri="{FF2B5EF4-FFF2-40B4-BE49-F238E27FC236}">
                <a16:creationId xmlns:a16="http://schemas.microsoft.com/office/drawing/2014/main" id="{A196F91C-B7DA-4BFB-A245-771AA8C41869}"/>
              </a:ext>
            </a:extLst>
          </p:cNvPr>
          <p:cNvPicPr>
            <a:picLocks noChangeAspect="1"/>
          </p:cNvPicPr>
          <p:nvPr userDrawn="1"/>
        </p:nvPicPr>
        <p:blipFill rotWithShape="1">
          <a:blip r:embed="rId8">
            <a:extLst>
              <a:ext uri="{96DAC541-7B7A-43D3-8B79-37D633B846F1}">
                <asvg:svgBlip xmlns:asvg="http://schemas.microsoft.com/office/drawing/2016/SVG/main" r:embed="rId9"/>
              </a:ext>
            </a:extLst>
          </a:blip>
          <a:srcRect l="81836" t="-4713" b="16530"/>
          <a:stretch/>
        </p:blipFill>
        <p:spPr>
          <a:xfrm>
            <a:off x="11333051" y="251520"/>
            <a:ext cx="565808" cy="612832"/>
          </a:xfrm>
          <a:prstGeom prst="rect">
            <a:avLst/>
          </a:prstGeom>
        </p:spPr>
      </p:pic>
      <p:sp>
        <p:nvSpPr>
          <p:cNvPr id="13" name="Title 1">
            <a:extLst>
              <a:ext uri="{FF2B5EF4-FFF2-40B4-BE49-F238E27FC236}">
                <a16:creationId xmlns:a16="http://schemas.microsoft.com/office/drawing/2014/main" id="{24209D9C-4CB7-4736-8E2B-449C1085CBA0}"/>
              </a:ext>
            </a:extLst>
          </p:cNvPr>
          <p:cNvSpPr>
            <a:spLocks noGrp="1"/>
          </p:cNvSpPr>
          <p:nvPr>
            <p:ph type="title" hasCustomPrompt="1"/>
            <p:custDataLst>
              <p:tags r:id="rId3"/>
            </p:custDataLst>
          </p:nvPr>
        </p:nvSpPr>
        <p:spPr>
          <a:xfrm>
            <a:off x="3" y="1"/>
            <a:ext cx="9197589" cy="1062180"/>
          </a:xfrm>
        </p:spPr>
        <p:txBody>
          <a:bodyPr/>
          <a:lstStyle>
            <a:lvl1pPr>
              <a:defRPr sz="2400"/>
            </a:lvl1pPr>
          </a:lstStyle>
          <a:p>
            <a:r>
              <a:rPr lang="en-US" noProof="0" dirty="0"/>
              <a:t>Click to edit Master title style</a:t>
            </a:r>
            <a:endParaRPr lang="en-US" dirty="0"/>
          </a:p>
        </p:txBody>
      </p:sp>
    </p:spTree>
    <p:extLst>
      <p:ext uri="{BB962C8B-B14F-4D97-AF65-F5344CB8AC3E}">
        <p14:creationId xmlns:p14="http://schemas.microsoft.com/office/powerpoint/2010/main" val="251003075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2.png"/><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4.jpeg"/><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image" Target="../media/image3.sv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image" Target="../media/image2.png"/><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theme" Target="../theme/theme2.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image" Target="../media/image3.sv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tags" Target="../tags/tag32.xml"/><Relationship Id="rId18" Type="http://schemas.openxmlformats.org/officeDocument/2006/relationships/image" Target="../media/image2.png"/><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vmlDrawing" Target="../drawings/vmlDrawing15.vml"/><Relationship Id="rId17" Type="http://schemas.openxmlformats.org/officeDocument/2006/relationships/image" Target="../media/image1.emf"/><Relationship Id="rId2" Type="http://schemas.openxmlformats.org/officeDocument/2006/relationships/slideLayout" Target="../slideLayouts/slideLayout31.xml"/><Relationship Id="rId16" Type="http://schemas.openxmlformats.org/officeDocument/2006/relationships/oleObject" Target="../embeddings/oleObject15.bin"/><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theme" Target="../theme/theme3.xml"/><Relationship Id="rId5" Type="http://schemas.openxmlformats.org/officeDocument/2006/relationships/slideLayout" Target="../slideLayouts/slideLayout34.xml"/><Relationship Id="rId15" Type="http://schemas.openxmlformats.org/officeDocument/2006/relationships/tags" Target="../tags/tag34.xml"/><Relationship Id="rId10" Type="http://schemas.openxmlformats.org/officeDocument/2006/relationships/slideLayout" Target="../slideLayouts/slideLayout39.xml"/><Relationship Id="rId19" Type="http://schemas.openxmlformats.org/officeDocument/2006/relationships/image" Target="../media/image3.svg"/><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tags" Target="../tags/tag33.xml"/></Relationships>
</file>

<file path=ppt/slideMasters/_rels/slideMaster4.xml.rels><?xml version="1.0" encoding="UTF-8" standalone="yes"?>
<Relationships xmlns="http://schemas.openxmlformats.org/package/2006/relationships"><Relationship Id="rId8" Type="http://schemas.openxmlformats.org/officeDocument/2006/relationships/vmlDrawing" Target="../drawings/vmlDrawing23.vml"/><Relationship Id="rId13" Type="http://schemas.openxmlformats.org/officeDocument/2006/relationships/image" Target="../media/image1.emf"/><Relationship Id="rId3" Type="http://schemas.openxmlformats.org/officeDocument/2006/relationships/slideLayout" Target="../slideLayouts/slideLayout42.xml"/><Relationship Id="rId7" Type="http://schemas.openxmlformats.org/officeDocument/2006/relationships/theme" Target="../theme/theme4.xml"/><Relationship Id="rId12" Type="http://schemas.openxmlformats.org/officeDocument/2006/relationships/oleObject" Target="../embeddings/oleObject23.bin"/><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tags" Target="../tags/tag48.xml"/><Relationship Id="rId5" Type="http://schemas.openxmlformats.org/officeDocument/2006/relationships/slideLayout" Target="../slideLayouts/slideLayout44.xml"/><Relationship Id="rId15" Type="http://schemas.openxmlformats.org/officeDocument/2006/relationships/image" Target="../media/image3.svg"/><Relationship Id="rId10" Type="http://schemas.openxmlformats.org/officeDocument/2006/relationships/tags" Target="../tags/tag47.xml"/><Relationship Id="rId4" Type="http://schemas.openxmlformats.org/officeDocument/2006/relationships/slideLayout" Target="../slideLayouts/slideLayout43.xml"/><Relationship Id="rId9" Type="http://schemas.openxmlformats.org/officeDocument/2006/relationships/tags" Target="../tags/tag46.xml"/><Relationship Id="rId14" Type="http://schemas.openxmlformats.org/officeDocument/2006/relationships/image" Target="../media/image2.png"/></Relationships>
</file>

<file path=ppt/slideMasters/_rels/slideMaster5.xml.rels><?xml version="1.0" encoding="UTF-8" standalone="yes"?>
<Relationships xmlns="http://schemas.openxmlformats.org/package/2006/relationships"><Relationship Id="rId8" Type="http://schemas.openxmlformats.org/officeDocument/2006/relationships/vmlDrawing" Target="../drawings/vmlDrawing28.vml"/><Relationship Id="rId13" Type="http://schemas.openxmlformats.org/officeDocument/2006/relationships/image" Target="../media/image1.emf"/><Relationship Id="rId3" Type="http://schemas.openxmlformats.org/officeDocument/2006/relationships/slideLayout" Target="../slideLayouts/slideLayout48.xml"/><Relationship Id="rId7" Type="http://schemas.openxmlformats.org/officeDocument/2006/relationships/theme" Target="../theme/theme5.xml"/><Relationship Id="rId12" Type="http://schemas.openxmlformats.org/officeDocument/2006/relationships/oleObject" Target="../embeddings/oleObject23.bin"/><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tags" Target="../tags/tag56.xml"/><Relationship Id="rId5" Type="http://schemas.openxmlformats.org/officeDocument/2006/relationships/slideLayout" Target="../slideLayouts/slideLayout50.xml"/><Relationship Id="rId15" Type="http://schemas.openxmlformats.org/officeDocument/2006/relationships/image" Target="../media/image3.svg"/><Relationship Id="rId10" Type="http://schemas.openxmlformats.org/officeDocument/2006/relationships/tags" Target="../tags/tag55.xml"/><Relationship Id="rId4" Type="http://schemas.openxmlformats.org/officeDocument/2006/relationships/slideLayout" Target="../slideLayouts/slideLayout49.xml"/><Relationship Id="rId9" Type="http://schemas.openxmlformats.org/officeDocument/2006/relationships/tags" Target="../tags/tag54.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1"/>
            </p:custDataLst>
          </p:nvPr>
        </p:nvGraphicFramePr>
        <p:xfrm>
          <a:off x="1" y="1"/>
          <a:ext cx="195384" cy="158751"/>
        </p:xfrm>
        <a:graphic>
          <a:graphicData uri="http://schemas.openxmlformats.org/presentationml/2006/ole">
            <mc:AlternateContent xmlns:mc="http://schemas.openxmlformats.org/markup-compatibility/2006">
              <mc:Choice xmlns:v="urn:schemas-microsoft-com:vml" Requires="v">
                <p:oleObj spid="_x0000_s1026" name="think-cell Slide" r:id="rId24" imgW="360" imgH="360" progId="">
                  <p:embed/>
                </p:oleObj>
              </mc:Choice>
              <mc:Fallback>
                <p:oleObj name="think-cell Slide" r:id="rId24" imgW="360" imgH="360" progId="">
                  <p:embed/>
                  <p:pic>
                    <p:nvPicPr>
                      <p:cNvPr id="8"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1"/>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2"/>
            </p:custDataLst>
          </p:nvPr>
        </p:nvSpPr>
        <p:spPr>
          <a:xfrm>
            <a:off x="2" y="1"/>
            <a:ext cx="12191999" cy="1062180"/>
          </a:xfrm>
          <a:prstGeom prst="rect">
            <a:avLst/>
          </a:prstGeom>
        </p:spPr>
        <p:txBody>
          <a:bodyPr vert="horz" lIns="253554" tIns="28173" rIns="140864" bIns="28173" rtlCol="0" anchor="ctr">
            <a:noAutofit/>
          </a:bodyPr>
          <a:lstStyle/>
          <a:p>
            <a:r>
              <a:rPr lang="en-US" noProof="0" dirty="0" err="1"/>
              <a:t>Cliquez</a:t>
            </a:r>
            <a:r>
              <a:rPr lang="en-US" noProof="0" dirty="0"/>
              <a:t> pour modifier le style du </a:t>
            </a:r>
            <a:r>
              <a:rPr lang="en-US" noProof="0" dirty="0" err="1"/>
              <a:t>titre</a:t>
            </a:r>
            <a:endParaRPr lang="en-US" noProof="0" dirty="0"/>
          </a:p>
        </p:txBody>
      </p:sp>
      <p:sp>
        <p:nvSpPr>
          <p:cNvPr id="3" name="Text Placeholder 2"/>
          <p:cNvSpPr>
            <a:spLocks noGrp="1"/>
          </p:cNvSpPr>
          <p:nvPr>
            <p:ph type="body" idx="1"/>
            <p:custDataLst>
              <p:tags r:id="rId23"/>
            </p:custDataLst>
          </p:nvPr>
        </p:nvSpPr>
        <p:spPr>
          <a:xfrm>
            <a:off x="398022" y="1501978"/>
            <a:ext cx="11616153" cy="4636540"/>
          </a:xfrm>
          <a:prstGeom prst="rect">
            <a:avLst/>
          </a:prstGeom>
        </p:spPr>
        <p:txBody>
          <a:bodyPr vert="horz" lIns="92038" tIns="61358" rIns="61358" bIns="61358"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7" name="Line 7"/>
          <p:cNvSpPr>
            <a:spLocks noChangeShapeType="1"/>
          </p:cNvSpPr>
          <p:nvPr userDrawn="1"/>
        </p:nvSpPr>
        <p:spPr bwMode="gray">
          <a:xfrm>
            <a:off x="11588751" y="6450412"/>
            <a:ext cx="0" cy="319616"/>
          </a:xfrm>
          <a:prstGeom prst="line">
            <a:avLst/>
          </a:prstGeom>
          <a:noFill/>
          <a:ln w="9525">
            <a:solidFill>
              <a:srgbClr val="969696"/>
            </a:solidFill>
            <a:round/>
            <a:headEnd/>
            <a:tailEnd/>
          </a:ln>
          <a:effectLst/>
        </p:spPr>
        <p:txBody>
          <a:bodyPr wrap="none" anchor="ctr"/>
          <a:lstStyle/>
          <a:p>
            <a:endParaRPr lang="en-US" sz="2133" dirty="0">
              <a:solidFill>
                <a:schemeClr val="tx2"/>
              </a:solidFill>
              <a:latin typeface="Verdana" panose="020B0604030504040204" pitchFamily="34" charset="0"/>
              <a:ea typeface="Verdana" panose="020B0604030504040204" pitchFamily="34" charset="0"/>
              <a:cs typeface="Verdana" panose="020B0604030504040204" pitchFamily="34" charset="0"/>
            </a:endParaRPr>
          </a:p>
        </p:txBody>
      </p:sp>
      <p:sp>
        <p:nvSpPr>
          <p:cNvPr id="18" name="Text Box 8"/>
          <p:cNvSpPr txBox="1">
            <a:spLocks noChangeArrowheads="1"/>
          </p:cNvSpPr>
          <p:nvPr userDrawn="1"/>
        </p:nvSpPr>
        <p:spPr bwMode="gray">
          <a:xfrm>
            <a:off x="11588753" y="6448295"/>
            <a:ext cx="603249" cy="323851"/>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933">
                <a:solidFill>
                  <a:srgbClr val="969696"/>
                </a:solidFill>
                <a:latin typeface="Verdana" panose="020B0604030504040204" pitchFamily="34" charset="0"/>
                <a:ea typeface="Verdana" panose="020B0604030504040204" pitchFamily="34" charset="0"/>
                <a:cs typeface="Verdana" panose="020B0604030504040204" pitchFamily="34" charset="0"/>
              </a:rPr>
              <a:pPr eaLnBrk="0" hangingPunct="0">
                <a:lnSpc>
                  <a:spcPct val="85000"/>
                </a:lnSpc>
              </a:pPr>
              <a:t>‹#›</a:t>
            </a:fld>
            <a:endParaRPr lang="en-US" sz="933" dirty="0">
              <a:solidFill>
                <a:srgbClr val="969696"/>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Text Box 9"/>
          <p:cNvSpPr txBox="1">
            <a:spLocks noChangeArrowheads="1"/>
          </p:cNvSpPr>
          <p:nvPr userDrawn="1"/>
        </p:nvSpPr>
        <p:spPr bwMode="gray">
          <a:xfrm>
            <a:off x="5475818" y="6513913"/>
            <a:ext cx="6068484" cy="179601"/>
          </a:xfrm>
          <a:prstGeom prst="rect">
            <a:avLst/>
          </a:prstGeom>
          <a:noFill/>
          <a:ln w="12700" algn="ctr">
            <a:noFill/>
            <a:miter lim="800000"/>
            <a:headEnd/>
            <a:tailEnd type="none" w="lg" len="lg"/>
          </a:ln>
          <a:effectLst/>
        </p:spPr>
        <p:txBody>
          <a:bodyPr>
            <a:spAutoFit/>
          </a:bodyPr>
          <a:lstStyle/>
          <a:p>
            <a:pPr algn="r" eaLnBrk="0" hangingPunct="0">
              <a:lnSpc>
                <a:spcPct val="85000"/>
              </a:lnSpc>
            </a:pPr>
            <a:r>
              <a:rPr lang="en-US" sz="667" dirty="0">
                <a:solidFill>
                  <a:schemeClr val="tx2"/>
                </a:solidFill>
                <a:latin typeface="Verdana" panose="020B0604030504040204" pitchFamily="34" charset="0"/>
                <a:ea typeface="Verdana" panose="020B0604030504040204" pitchFamily="34" charset="0"/>
                <a:cs typeface="Verdana" panose="020B0604030504040204" pitchFamily="34" charset="0"/>
              </a:rPr>
              <a:t>The information contained in this document is proprietary. Copyright © 2018 Capgemini. All rights reserved.</a:t>
            </a:r>
          </a:p>
        </p:txBody>
      </p:sp>
      <p:pic>
        <p:nvPicPr>
          <p:cNvPr id="24"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26">
            <a:extLst>
              <a:ext uri="{96DAC541-7B7A-43D3-8B79-37D633B846F1}">
                <asvg:svgBlip xmlns:asvg="http://schemas.microsoft.com/office/drawing/2016/SVG/main" r:embed="rId27"/>
              </a:ext>
            </a:extLst>
          </a:blip>
          <a:stretch>
            <a:fillRect/>
          </a:stretch>
        </p:blipFill>
        <p:spPr>
          <a:xfrm>
            <a:off x="306831" y="6429448"/>
            <a:ext cx="1412968" cy="315237"/>
          </a:xfrm>
          <a:prstGeom prst="rect">
            <a:avLst/>
          </a:prstGeom>
        </p:spPr>
      </p:pic>
      <p:pic>
        <p:nvPicPr>
          <p:cNvPr id="10" name="Picture 2" descr="National Grid">
            <a:extLst>
              <a:ext uri="{FF2B5EF4-FFF2-40B4-BE49-F238E27FC236}">
                <a16:creationId xmlns:a16="http://schemas.microsoft.com/office/drawing/2014/main" id="{B0B03950-4EF0-4DD5-9F79-00A60D412FF2}"/>
              </a:ext>
            </a:extLst>
          </p:cNvPr>
          <p:cNvPicPr>
            <a:picLocks noChangeAspect="1" noChangeArrowheads="1"/>
          </p:cNvPicPr>
          <p:nvPr userDrawn="1"/>
        </p:nvPicPr>
        <p:blipFill>
          <a:blip r:embed="rId28">
            <a:extLst>
              <a:ext uri="{28A0092B-C50C-407E-A947-70E740481C1C}">
                <a14:useLocalDpi xmlns:a14="http://schemas.microsoft.com/office/drawing/2010/main" val="0"/>
              </a:ext>
            </a:extLst>
          </a:blip>
          <a:srcRect/>
          <a:stretch>
            <a:fillRect/>
          </a:stretch>
        </p:blipFill>
        <p:spPr bwMode="auto">
          <a:xfrm>
            <a:off x="4802545" y="6443805"/>
            <a:ext cx="1536781" cy="315237"/>
          </a:xfrm>
          <a:prstGeom prst="rect">
            <a:avLst/>
          </a:prstGeom>
          <a:noFill/>
          <a:extLst>
            <a:ext uri="{909E8E84-426E-40DD-AFC4-6F175D3DCCD1}">
              <a14:hiddenFill xmlns:a14="http://schemas.microsoft.com/office/drawing/2010/main">
                <a:solidFill>
                  <a:srgbClr val="FFFFFF"/>
                </a:solidFill>
              </a14:hiddenFill>
            </a:ext>
          </a:extLst>
        </p:spPr>
      </p:pic>
    </p:spTree>
  </p:cSld>
  <p:clrMap bg1="lt1" tx1="dk1" bg2="lt2" tx2="dk2" accent1="accent1" accent2="accent2" accent3="accent3" accent4="accent4" accent5="accent5" accent6="accent6" hlink="hlink" folHlink="folHlink"/>
  <p:sldLayoutIdLst>
    <p:sldLayoutId id="2147483928" r:id="rId1"/>
    <p:sldLayoutId id="2147483958" r:id="rId2"/>
    <p:sldLayoutId id="2147483986" r:id="rId3"/>
    <p:sldLayoutId id="2147483971" r:id="rId4"/>
    <p:sldLayoutId id="2147483987" r:id="rId5"/>
    <p:sldLayoutId id="2147483965" r:id="rId6"/>
    <p:sldLayoutId id="2147484012" r:id="rId7"/>
    <p:sldLayoutId id="2147483995" r:id="rId8"/>
    <p:sldLayoutId id="2147484013" r:id="rId9"/>
    <p:sldLayoutId id="2147483966" r:id="rId10"/>
    <p:sldLayoutId id="2147483996" r:id="rId11"/>
    <p:sldLayoutId id="2147483997" r:id="rId12"/>
    <p:sldLayoutId id="2147483934" r:id="rId13"/>
    <p:sldLayoutId id="2147484020" r:id="rId14"/>
    <p:sldLayoutId id="2147484024" r:id="rId15"/>
    <p:sldLayoutId id="2147484025" r:id="rId16"/>
    <p:sldLayoutId id="2147484026" r:id="rId17"/>
    <p:sldLayoutId id="2147484071" r:id="rId18"/>
  </p:sldLayoutIdLst>
  <p:txStyles>
    <p:titleStyle>
      <a:lvl1pPr algn="l" defTabSz="1038910" rtl="0" eaLnBrk="1" latinLnBrk="0" hangingPunct="1">
        <a:lnSpc>
          <a:spcPct val="85000"/>
        </a:lnSpc>
        <a:spcBef>
          <a:spcPct val="0"/>
        </a:spcBef>
        <a:buNone/>
        <a:defRPr sz="2400" b="0" kern="1200" spc="-93" baseline="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302676" indent="-302676" algn="l" defTabSz="1038910" rtl="0" eaLnBrk="1" latinLnBrk="0" hangingPunct="1">
        <a:lnSpc>
          <a:spcPct val="90000"/>
        </a:lnSpc>
        <a:spcBef>
          <a:spcPts val="0"/>
        </a:spcBef>
        <a:spcAft>
          <a:spcPts val="681"/>
        </a:spcAft>
        <a:buClr>
          <a:schemeClr val="accent2"/>
        </a:buClr>
        <a:buFont typeface="Wingdings" pitchFamily="2" charset="2"/>
        <a:buChar char="§"/>
        <a:defRPr sz="2000" b="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15935" indent="-292093" algn="l" defTabSz="1038910" rtl="0" eaLnBrk="1" latinLnBrk="0" hangingPunct="1">
        <a:lnSpc>
          <a:spcPct val="90000"/>
        </a:lnSpc>
        <a:spcBef>
          <a:spcPts val="0"/>
        </a:spcBef>
        <a:spcAft>
          <a:spcPts val="681"/>
        </a:spcAft>
        <a:buClr>
          <a:schemeClr val="accent2"/>
        </a:buClr>
        <a:buFont typeface="Arial" panose="020B0604020202020204" pitchFamily="34" charset="0"/>
        <a:buChar char="–"/>
        <a:defRPr sz="16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42412" indent="-186262" algn="l" defTabSz="1038910" rtl="0" eaLnBrk="1" latinLnBrk="0" hangingPunct="1">
        <a:lnSpc>
          <a:spcPct val="90000"/>
        </a:lnSpc>
        <a:spcBef>
          <a:spcPts val="0"/>
        </a:spcBef>
        <a:spcAft>
          <a:spcPts val="681"/>
        </a:spcAft>
        <a:buClr>
          <a:schemeClr val="accent2"/>
        </a:buClr>
        <a:buFont typeface="Arial" pitchFamily="34" charset="0"/>
        <a:buChar char="•"/>
        <a:defRPr sz="14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068891" indent="-186262" algn="l" defTabSz="1038910" rtl="0" eaLnBrk="1" latinLnBrk="0" hangingPunct="1">
        <a:lnSpc>
          <a:spcPct val="90000"/>
        </a:lnSpc>
        <a:spcBef>
          <a:spcPts val="0"/>
        </a:spcBef>
        <a:spcAft>
          <a:spcPts val="681"/>
        </a:spcAft>
        <a:buClr>
          <a:schemeClr val="accent2"/>
        </a:buClr>
        <a:buFont typeface="Courier New" panose="02070309020205020404" pitchFamily="49" charset="0"/>
        <a:buChar char="o"/>
        <a:defRPr sz="14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917" indent="-220048" algn="l" defTabSz="1038910" rtl="0" eaLnBrk="1" latinLnBrk="0" hangingPunct="1">
        <a:spcBef>
          <a:spcPts val="0"/>
        </a:spcBef>
        <a:buClr>
          <a:srgbClr val="B1B1B1"/>
        </a:buClr>
        <a:buFont typeface="Arial" pitchFamily="34" charset="0"/>
        <a:buChar char="–"/>
        <a:defRPr sz="1867" kern="1200">
          <a:solidFill>
            <a:srgbClr val="494949"/>
          </a:solidFill>
          <a:latin typeface="+mn-lt"/>
          <a:ea typeface="+mn-ea"/>
          <a:cs typeface="+mn-cs"/>
        </a:defRPr>
      </a:lvl5pPr>
      <a:lvl6pPr marL="2857005"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60"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15"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370"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9pPr>
    </p:bodyStyle>
    <p:otherStyle>
      <a:defPPr>
        <a:defRPr lang="fr-FR"/>
      </a:defPPr>
      <a:lvl1pPr marL="0" algn="l" defTabSz="1038910" rtl="0" eaLnBrk="1" latinLnBrk="0" hangingPunct="1">
        <a:defRPr sz="2000" kern="1200">
          <a:solidFill>
            <a:schemeClr val="tx1"/>
          </a:solidFill>
          <a:latin typeface="+mn-lt"/>
          <a:ea typeface="+mn-ea"/>
          <a:cs typeface="+mn-cs"/>
        </a:defRPr>
      </a:lvl1pPr>
      <a:lvl2pPr marL="519455" algn="l" defTabSz="1038910" rtl="0" eaLnBrk="1" latinLnBrk="0" hangingPunct="1">
        <a:defRPr sz="2000" kern="1200">
          <a:solidFill>
            <a:schemeClr val="tx1"/>
          </a:solidFill>
          <a:latin typeface="+mn-lt"/>
          <a:ea typeface="+mn-ea"/>
          <a:cs typeface="+mn-cs"/>
        </a:defRPr>
      </a:lvl2pPr>
      <a:lvl3pPr marL="1038910" algn="l" defTabSz="1038910" rtl="0" eaLnBrk="1" latinLnBrk="0" hangingPunct="1">
        <a:defRPr sz="2000" kern="1200">
          <a:solidFill>
            <a:schemeClr val="tx1"/>
          </a:solidFill>
          <a:latin typeface="+mn-lt"/>
          <a:ea typeface="+mn-ea"/>
          <a:cs typeface="+mn-cs"/>
        </a:defRPr>
      </a:lvl3pPr>
      <a:lvl4pPr marL="1558365" algn="l" defTabSz="1038910" rtl="0" eaLnBrk="1" latinLnBrk="0" hangingPunct="1">
        <a:defRPr sz="2000" kern="1200">
          <a:solidFill>
            <a:schemeClr val="tx1"/>
          </a:solidFill>
          <a:latin typeface="+mn-lt"/>
          <a:ea typeface="+mn-ea"/>
          <a:cs typeface="+mn-cs"/>
        </a:defRPr>
      </a:lvl4pPr>
      <a:lvl5pPr marL="2077821" algn="l" defTabSz="1038910" rtl="0" eaLnBrk="1" latinLnBrk="0" hangingPunct="1">
        <a:defRPr sz="2000" kern="1200">
          <a:solidFill>
            <a:schemeClr val="tx1"/>
          </a:solidFill>
          <a:latin typeface="+mn-lt"/>
          <a:ea typeface="+mn-ea"/>
          <a:cs typeface="+mn-cs"/>
        </a:defRPr>
      </a:lvl5pPr>
      <a:lvl6pPr marL="2597276" algn="l" defTabSz="1038910" rtl="0" eaLnBrk="1" latinLnBrk="0" hangingPunct="1">
        <a:defRPr sz="2000" kern="1200">
          <a:solidFill>
            <a:schemeClr val="tx1"/>
          </a:solidFill>
          <a:latin typeface="+mn-lt"/>
          <a:ea typeface="+mn-ea"/>
          <a:cs typeface="+mn-cs"/>
        </a:defRPr>
      </a:lvl6pPr>
      <a:lvl7pPr marL="3116731" algn="l" defTabSz="1038910" rtl="0" eaLnBrk="1" latinLnBrk="0" hangingPunct="1">
        <a:defRPr sz="2000" kern="1200">
          <a:solidFill>
            <a:schemeClr val="tx1"/>
          </a:solidFill>
          <a:latin typeface="+mn-lt"/>
          <a:ea typeface="+mn-ea"/>
          <a:cs typeface="+mn-cs"/>
        </a:defRPr>
      </a:lvl7pPr>
      <a:lvl8pPr marL="3636188" algn="l" defTabSz="1038910" rtl="0" eaLnBrk="1" latinLnBrk="0" hangingPunct="1">
        <a:defRPr sz="2000" kern="1200">
          <a:solidFill>
            <a:schemeClr val="tx1"/>
          </a:solidFill>
          <a:latin typeface="+mn-lt"/>
          <a:ea typeface="+mn-ea"/>
          <a:cs typeface="+mn-cs"/>
        </a:defRPr>
      </a:lvl8pPr>
      <a:lvl9pPr marL="4155643" algn="l" defTabSz="1038910" rtl="0" eaLnBrk="1" latinLnBrk="0" hangingPunct="1">
        <a:defRPr sz="20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08" userDrawn="1">
          <p15:clr>
            <a:srgbClr val="F26B43"/>
          </p15:clr>
        </p15:guide>
        <p15:guide id="2" pos="144" userDrawn="1">
          <p15:clr>
            <a:srgbClr val="F26B43"/>
          </p15:clr>
        </p15:guide>
        <p15:guide id="3" pos="7536" userDrawn="1">
          <p15:clr>
            <a:srgbClr val="F26B43"/>
          </p15:clr>
        </p15:guide>
        <p15:guide id="4" orient="horz" pos="672"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dirty="0"/>
              <a:t>Click to edit Master title style</a:t>
            </a:r>
            <a:endParaRPr lang="pt-PT" dirty="0"/>
          </a:p>
        </p:txBody>
      </p:sp>
      <p:pic>
        <p:nvPicPr>
          <p:cNvPr id="9"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13">
            <a:extLst>
              <a:ext uri="{96DAC541-7B7A-43D3-8B79-37D633B846F1}">
                <asvg:svgBlip xmlns:asvg="http://schemas.microsoft.com/office/drawing/2016/SVG/main" r:embed="rId14"/>
              </a:ext>
            </a:extLst>
          </a:blip>
          <a:srcRect l="81836" t="-4713" b="16530"/>
          <a:stretch/>
        </p:blipFill>
        <p:spPr>
          <a:xfrm>
            <a:off x="11547793" y="188640"/>
            <a:ext cx="424356" cy="459624"/>
          </a:xfrm>
          <a:prstGeom prst="rect">
            <a:avLst/>
          </a:prstGeom>
        </p:spPr>
      </p:pic>
      <p:sp>
        <p:nvSpPr>
          <p:cNvPr id="13"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86071836"/>
      </p:ext>
    </p:extLst>
  </p:cSld>
  <p:clrMap bg1="lt1" tx1="dk1" bg2="lt2" tx2="dk2" accent1="accent1" accent2="accent2" accent3="accent3" accent4="accent4" accent5="accent5" accent6="accent6" hlink="hlink" folHlink="folHlink"/>
  <p:sldLayoutIdLst>
    <p:sldLayoutId id="2147484058" r:id="rId1"/>
    <p:sldLayoutId id="2147484059" r:id="rId2"/>
    <p:sldLayoutId id="2147484060" r:id="rId3"/>
    <p:sldLayoutId id="2147484061" r:id="rId4"/>
    <p:sldLayoutId id="2147484062" r:id="rId5"/>
    <p:sldLayoutId id="2147484063" r:id="rId6"/>
    <p:sldLayoutId id="2147484064" r:id="rId7"/>
    <p:sldLayoutId id="2147484065" r:id="rId8"/>
    <p:sldLayoutId id="2147484066" r:id="rId9"/>
    <p:sldLayoutId id="2147484067" r:id="rId10"/>
    <p:sldLayoutId id="2147484068" r:id="rId11"/>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1"/>
          <a:ext cx="195384" cy="158751"/>
        </p:xfrm>
        <a:graphic>
          <a:graphicData uri="http://schemas.openxmlformats.org/presentationml/2006/ole">
            <mc:AlternateContent xmlns:mc="http://schemas.openxmlformats.org/markup-compatibility/2006">
              <mc:Choice xmlns:v="urn:schemas-microsoft-com:vml" Requires="v">
                <p:oleObj spid="_x0000_s15362" name="think-cell Slide" r:id="rId16" imgW="360" imgH="360" progId="">
                  <p:embed/>
                </p:oleObj>
              </mc:Choice>
              <mc:Fallback>
                <p:oleObj name="think-cell Slide" r:id="rId16" imgW="360" imgH="360" progId="">
                  <p:embed/>
                  <p:pic>
                    <p:nvPicPr>
                      <p:cNvPr id="8" name="Object 7"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 y="1"/>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2" y="1"/>
            <a:ext cx="12191999" cy="1062180"/>
          </a:xfrm>
          <a:prstGeom prst="rect">
            <a:avLst/>
          </a:prstGeom>
        </p:spPr>
        <p:txBody>
          <a:bodyPr vert="horz" lIns="253554" tIns="28173" rIns="140864" bIns="28173" rtlCol="0" anchor="ctr">
            <a:noAutofit/>
          </a:bodyPr>
          <a:lstStyle/>
          <a:p>
            <a:r>
              <a:rPr lang="en-US" noProof="0" err="1"/>
              <a:t>Cliquez</a:t>
            </a:r>
            <a:r>
              <a:rPr lang="en-US" noProof="0"/>
              <a:t> pour modifier le style du </a:t>
            </a:r>
            <a:r>
              <a:rPr lang="en-US" noProof="0" err="1"/>
              <a:t>titre</a:t>
            </a:r>
            <a:endParaRPr lang="en-US" noProof="0"/>
          </a:p>
        </p:txBody>
      </p:sp>
      <p:sp>
        <p:nvSpPr>
          <p:cNvPr id="3" name="Text Placeholder 2"/>
          <p:cNvSpPr>
            <a:spLocks noGrp="1"/>
          </p:cNvSpPr>
          <p:nvPr>
            <p:ph type="body" idx="1"/>
            <p:custDataLst>
              <p:tags r:id="rId15"/>
            </p:custDataLst>
          </p:nvPr>
        </p:nvSpPr>
        <p:spPr>
          <a:xfrm>
            <a:off x="398022" y="1501978"/>
            <a:ext cx="11616153" cy="4636540"/>
          </a:xfrm>
          <a:prstGeom prst="rect">
            <a:avLst/>
          </a:prstGeom>
        </p:spPr>
        <p:txBody>
          <a:bodyPr vert="horz" lIns="92038" tIns="61358" rIns="61358" bIns="61358" rtlCol="0">
            <a:noAutofit/>
          </a:body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17" name="Line 7"/>
          <p:cNvSpPr>
            <a:spLocks noChangeShapeType="1"/>
          </p:cNvSpPr>
          <p:nvPr/>
        </p:nvSpPr>
        <p:spPr bwMode="gray">
          <a:xfrm>
            <a:off x="11588751" y="6450412"/>
            <a:ext cx="0" cy="319616"/>
          </a:xfrm>
          <a:prstGeom prst="line">
            <a:avLst/>
          </a:prstGeom>
          <a:noFill/>
          <a:ln w="9525">
            <a:solidFill>
              <a:srgbClr val="969696"/>
            </a:solidFill>
            <a:round/>
            <a:headEnd/>
            <a:tailEnd/>
          </a:ln>
          <a:effectLst/>
        </p:spPr>
        <p:txBody>
          <a:bodyPr wrap="none" anchor="ctr"/>
          <a:lstStyle/>
          <a:p>
            <a:endParaRPr lang="en-US" sz="2133">
              <a:solidFill>
                <a:schemeClr val="tx2"/>
              </a:solidFill>
              <a:latin typeface="Verdana" panose="020B0604030504040204" pitchFamily="34" charset="0"/>
              <a:ea typeface="Verdana" panose="020B0604030504040204" pitchFamily="34" charset="0"/>
              <a:cs typeface="Verdana" panose="020B0604030504040204" pitchFamily="34" charset="0"/>
            </a:endParaRPr>
          </a:p>
        </p:txBody>
      </p:sp>
      <p:sp>
        <p:nvSpPr>
          <p:cNvPr id="18" name="Text Box 8"/>
          <p:cNvSpPr txBox="1">
            <a:spLocks noChangeArrowheads="1"/>
          </p:cNvSpPr>
          <p:nvPr/>
        </p:nvSpPr>
        <p:spPr bwMode="gray">
          <a:xfrm>
            <a:off x="11588753" y="6448295"/>
            <a:ext cx="603249" cy="323851"/>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933">
                <a:solidFill>
                  <a:srgbClr val="969696"/>
                </a:solidFill>
                <a:latin typeface="Verdana" panose="020B0604030504040204" pitchFamily="34" charset="0"/>
                <a:ea typeface="Verdana" panose="020B0604030504040204" pitchFamily="34" charset="0"/>
                <a:cs typeface="Verdana" panose="020B0604030504040204" pitchFamily="34" charset="0"/>
              </a:rPr>
              <a:pPr eaLnBrk="0" hangingPunct="0">
                <a:lnSpc>
                  <a:spcPct val="85000"/>
                </a:lnSpc>
              </a:pPr>
              <a:t>‹#›</a:t>
            </a:fld>
            <a:endParaRPr lang="en-US" sz="933">
              <a:solidFill>
                <a:srgbClr val="969696"/>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Text Box 9"/>
          <p:cNvSpPr txBox="1">
            <a:spLocks noChangeArrowheads="1"/>
          </p:cNvSpPr>
          <p:nvPr/>
        </p:nvSpPr>
        <p:spPr bwMode="gray">
          <a:xfrm>
            <a:off x="5475818" y="6513913"/>
            <a:ext cx="6068484" cy="179601"/>
          </a:xfrm>
          <a:prstGeom prst="rect">
            <a:avLst/>
          </a:prstGeom>
          <a:noFill/>
          <a:ln w="12700" algn="ctr">
            <a:noFill/>
            <a:miter lim="800000"/>
            <a:headEnd/>
            <a:tailEnd type="none" w="lg" len="lg"/>
          </a:ln>
          <a:effectLst/>
        </p:spPr>
        <p:txBody>
          <a:bodyPr>
            <a:spAutoFit/>
          </a:bodyPr>
          <a:lstStyle/>
          <a:p>
            <a:pPr algn="r" eaLnBrk="0" hangingPunct="0">
              <a:lnSpc>
                <a:spcPct val="85000"/>
              </a:lnSpc>
            </a:pPr>
            <a:r>
              <a:rPr lang="en-US" sz="667">
                <a:solidFill>
                  <a:schemeClr val="tx2"/>
                </a:solidFill>
                <a:latin typeface="Verdana" panose="020B0604030504040204" pitchFamily="34" charset="0"/>
                <a:ea typeface="Verdana" panose="020B0604030504040204" pitchFamily="34" charset="0"/>
                <a:cs typeface="Verdana" panose="020B0604030504040204" pitchFamily="34" charset="0"/>
              </a:rPr>
              <a:t>The information contained in this document is proprietary. Copyright © 2018 Capgemini. All rights reserved.</a:t>
            </a:r>
          </a:p>
        </p:txBody>
      </p:sp>
      <p:pic>
        <p:nvPicPr>
          <p:cNvPr id="24" name="Graphic 9">
            <a:extLst>
              <a:ext uri="{FF2B5EF4-FFF2-40B4-BE49-F238E27FC236}">
                <a16:creationId xmlns:a16="http://schemas.microsoft.com/office/drawing/2014/main" id="{C3D2EC56-D17C-4A75-8178-C69397BC7353}"/>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306831" y="6429448"/>
            <a:ext cx="1412968" cy="315237"/>
          </a:xfrm>
          <a:prstGeom prst="rect">
            <a:avLst/>
          </a:prstGeom>
        </p:spPr>
      </p:pic>
    </p:spTree>
    <p:extLst>
      <p:ext uri="{BB962C8B-B14F-4D97-AF65-F5344CB8AC3E}">
        <p14:creationId xmlns:p14="http://schemas.microsoft.com/office/powerpoint/2010/main" val="2431118254"/>
      </p:ext>
    </p:extLst>
  </p:cSld>
  <p:clrMap bg1="lt1" tx1="dk1" bg2="lt2" tx2="dk2" accent1="accent1" accent2="accent2" accent3="accent3" accent4="accent4" accent5="accent5" accent6="accent6" hlink="hlink" folHlink="folHlink"/>
  <p:sldLayoutIdLst>
    <p:sldLayoutId id="2147484075" r:id="rId1"/>
    <p:sldLayoutId id="2147484076" r:id="rId2"/>
    <p:sldLayoutId id="2147484077" r:id="rId3"/>
    <p:sldLayoutId id="2147484078" r:id="rId4"/>
    <p:sldLayoutId id="2147484079" r:id="rId5"/>
    <p:sldLayoutId id="2147484080" r:id="rId6"/>
    <p:sldLayoutId id="2147484082" r:id="rId7"/>
    <p:sldLayoutId id="2147484083" r:id="rId8"/>
    <p:sldLayoutId id="2147484086" r:id="rId9"/>
    <p:sldLayoutId id="2147484087" r:id="rId10"/>
  </p:sldLayoutIdLst>
  <p:txStyles>
    <p:titleStyle>
      <a:lvl1pPr algn="l" defTabSz="1038910" rtl="0" eaLnBrk="1" latinLnBrk="0" hangingPunct="1">
        <a:lnSpc>
          <a:spcPct val="85000"/>
        </a:lnSpc>
        <a:spcBef>
          <a:spcPct val="0"/>
        </a:spcBef>
        <a:buNone/>
        <a:defRPr sz="2400" b="0" kern="1200" spc="-93" baseline="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302676" indent="-302676" algn="l" defTabSz="1038910" rtl="0" eaLnBrk="1" latinLnBrk="0" hangingPunct="1">
        <a:lnSpc>
          <a:spcPct val="90000"/>
        </a:lnSpc>
        <a:spcBef>
          <a:spcPts val="0"/>
        </a:spcBef>
        <a:spcAft>
          <a:spcPts val="681"/>
        </a:spcAft>
        <a:buClr>
          <a:schemeClr val="accent2"/>
        </a:buClr>
        <a:buFont typeface="Wingdings" pitchFamily="2" charset="2"/>
        <a:buChar char="§"/>
        <a:defRPr sz="2000" b="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15935" indent="-292093" algn="l" defTabSz="1038910" rtl="0" eaLnBrk="1" latinLnBrk="0" hangingPunct="1">
        <a:lnSpc>
          <a:spcPct val="90000"/>
        </a:lnSpc>
        <a:spcBef>
          <a:spcPts val="0"/>
        </a:spcBef>
        <a:spcAft>
          <a:spcPts val="681"/>
        </a:spcAft>
        <a:buClr>
          <a:schemeClr val="accent2"/>
        </a:buClr>
        <a:buFont typeface="Arial" panose="020B0604020202020204" pitchFamily="34" charset="0"/>
        <a:buChar char="–"/>
        <a:defRPr sz="16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42412" indent="-186262" algn="l" defTabSz="1038910" rtl="0" eaLnBrk="1" latinLnBrk="0" hangingPunct="1">
        <a:lnSpc>
          <a:spcPct val="90000"/>
        </a:lnSpc>
        <a:spcBef>
          <a:spcPts val="0"/>
        </a:spcBef>
        <a:spcAft>
          <a:spcPts val="681"/>
        </a:spcAft>
        <a:buClr>
          <a:schemeClr val="accent2"/>
        </a:buClr>
        <a:buFont typeface="Arial" pitchFamily="34" charset="0"/>
        <a:buChar char="•"/>
        <a:defRPr sz="14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068891" indent="-186262" algn="l" defTabSz="1038910" rtl="0" eaLnBrk="1" latinLnBrk="0" hangingPunct="1">
        <a:lnSpc>
          <a:spcPct val="90000"/>
        </a:lnSpc>
        <a:spcBef>
          <a:spcPts val="0"/>
        </a:spcBef>
        <a:spcAft>
          <a:spcPts val="681"/>
        </a:spcAft>
        <a:buClr>
          <a:schemeClr val="accent2"/>
        </a:buClr>
        <a:buFont typeface="Courier New" panose="02070309020205020404" pitchFamily="49" charset="0"/>
        <a:buChar char="o"/>
        <a:defRPr sz="14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917" indent="-220048" algn="l" defTabSz="1038910" rtl="0" eaLnBrk="1" latinLnBrk="0" hangingPunct="1">
        <a:spcBef>
          <a:spcPts val="0"/>
        </a:spcBef>
        <a:buClr>
          <a:srgbClr val="B1B1B1"/>
        </a:buClr>
        <a:buFont typeface="Arial" pitchFamily="34" charset="0"/>
        <a:buChar char="–"/>
        <a:defRPr sz="1867" kern="1200">
          <a:solidFill>
            <a:srgbClr val="494949"/>
          </a:solidFill>
          <a:latin typeface="+mn-lt"/>
          <a:ea typeface="+mn-ea"/>
          <a:cs typeface="+mn-cs"/>
        </a:defRPr>
      </a:lvl5pPr>
      <a:lvl6pPr marL="2857005"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60"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15"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370"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9pPr>
    </p:bodyStyle>
    <p:otherStyle>
      <a:defPPr>
        <a:defRPr lang="fr-FR"/>
      </a:defPPr>
      <a:lvl1pPr marL="0" algn="l" defTabSz="1038910" rtl="0" eaLnBrk="1" latinLnBrk="0" hangingPunct="1">
        <a:defRPr sz="2000" kern="1200">
          <a:solidFill>
            <a:schemeClr val="tx1"/>
          </a:solidFill>
          <a:latin typeface="+mn-lt"/>
          <a:ea typeface="+mn-ea"/>
          <a:cs typeface="+mn-cs"/>
        </a:defRPr>
      </a:lvl1pPr>
      <a:lvl2pPr marL="519455" algn="l" defTabSz="1038910" rtl="0" eaLnBrk="1" latinLnBrk="0" hangingPunct="1">
        <a:defRPr sz="2000" kern="1200">
          <a:solidFill>
            <a:schemeClr val="tx1"/>
          </a:solidFill>
          <a:latin typeface="+mn-lt"/>
          <a:ea typeface="+mn-ea"/>
          <a:cs typeface="+mn-cs"/>
        </a:defRPr>
      </a:lvl2pPr>
      <a:lvl3pPr marL="1038910" algn="l" defTabSz="1038910" rtl="0" eaLnBrk="1" latinLnBrk="0" hangingPunct="1">
        <a:defRPr sz="2000" kern="1200">
          <a:solidFill>
            <a:schemeClr val="tx1"/>
          </a:solidFill>
          <a:latin typeface="+mn-lt"/>
          <a:ea typeface="+mn-ea"/>
          <a:cs typeface="+mn-cs"/>
        </a:defRPr>
      </a:lvl3pPr>
      <a:lvl4pPr marL="1558365" algn="l" defTabSz="1038910" rtl="0" eaLnBrk="1" latinLnBrk="0" hangingPunct="1">
        <a:defRPr sz="2000" kern="1200">
          <a:solidFill>
            <a:schemeClr val="tx1"/>
          </a:solidFill>
          <a:latin typeface="+mn-lt"/>
          <a:ea typeface="+mn-ea"/>
          <a:cs typeface="+mn-cs"/>
        </a:defRPr>
      </a:lvl4pPr>
      <a:lvl5pPr marL="2077821" algn="l" defTabSz="1038910" rtl="0" eaLnBrk="1" latinLnBrk="0" hangingPunct="1">
        <a:defRPr sz="2000" kern="1200">
          <a:solidFill>
            <a:schemeClr val="tx1"/>
          </a:solidFill>
          <a:latin typeface="+mn-lt"/>
          <a:ea typeface="+mn-ea"/>
          <a:cs typeface="+mn-cs"/>
        </a:defRPr>
      </a:lvl5pPr>
      <a:lvl6pPr marL="2597276" algn="l" defTabSz="1038910" rtl="0" eaLnBrk="1" latinLnBrk="0" hangingPunct="1">
        <a:defRPr sz="2000" kern="1200">
          <a:solidFill>
            <a:schemeClr val="tx1"/>
          </a:solidFill>
          <a:latin typeface="+mn-lt"/>
          <a:ea typeface="+mn-ea"/>
          <a:cs typeface="+mn-cs"/>
        </a:defRPr>
      </a:lvl6pPr>
      <a:lvl7pPr marL="3116731" algn="l" defTabSz="1038910" rtl="0" eaLnBrk="1" latinLnBrk="0" hangingPunct="1">
        <a:defRPr sz="2000" kern="1200">
          <a:solidFill>
            <a:schemeClr val="tx1"/>
          </a:solidFill>
          <a:latin typeface="+mn-lt"/>
          <a:ea typeface="+mn-ea"/>
          <a:cs typeface="+mn-cs"/>
        </a:defRPr>
      </a:lvl7pPr>
      <a:lvl8pPr marL="3636188" algn="l" defTabSz="1038910" rtl="0" eaLnBrk="1" latinLnBrk="0" hangingPunct="1">
        <a:defRPr sz="2000" kern="1200">
          <a:solidFill>
            <a:schemeClr val="tx1"/>
          </a:solidFill>
          <a:latin typeface="+mn-lt"/>
          <a:ea typeface="+mn-ea"/>
          <a:cs typeface="+mn-cs"/>
        </a:defRPr>
      </a:lvl8pPr>
      <a:lvl9pPr marL="4155643" algn="l" defTabSz="1038910" rtl="0" eaLnBrk="1" latinLnBrk="0" hangingPunct="1">
        <a:defRPr sz="20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1" y="1"/>
          <a:ext cx="195384" cy="158751"/>
        </p:xfrm>
        <a:graphic>
          <a:graphicData uri="http://schemas.openxmlformats.org/presentationml/2006/ole">
            <mc:AlternateContent xmlns:mc="http://schemas.openxmlformats.org/markup-compatibility/2006">
              <mc:Choice xmlns:v="urn:schemas-microsoft-com:vml" Requires="v">
                <p:oleObj spid="_x0000_s23554" name="think-cell Slide" r:id="rId12" imgW="360" imgH="360" progId="">
                  <p:embed/>
                </p:oleObj>
              </mc:Choice>
              <mc:Fallback>
                <p:oleObj name="think-cell Slide" r:id="rId12" imgW="360" imgH="360" progId="">
                  <p:embed/>
                  <p:pic>
                    <p:nvPicPr>
                      <p:cNvPr id="8" name="Object 7"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 y="1"/>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2" y="1"/>
            <a:ext cx="12191999" cy="1062180"/>
          </a:xfrm>
          <a:prstGeom prst="rect">
            <a:avLst/>
          </a:prstGeom>
        </p:spPr>
        <p:txBody>
          <a:bodyPr vert="horz" lIns="253554" tIns="28173" rIns="140864" bIns="28173" rtlCol="0" anchor="ctr">
            <a:noAutofit/>
          </a:bodyPr>
          <a:lstStyle/>
          <a:p>
            <a:r>
              <a:rPr lang="en-US" noProof="0" err="1"/>
              <a:t>Cliquez</a:t>
            </a:r>
            <a:r>
              <a:rPr lang="en-US" noProof="0"/>
              <a:t> pour modifier le style du </a:t>
            </a:r>
            <a:r>
              <a:rPr lang="en-US" noProof="0" err="1"/>
              <a:t>titre</a:t>
            </a:r>
            <a:endParaRPr lang="en-US" noProof="0"/>
          </a:p>
        </p:txBody>
      </p:sp>
      <p:sp>
        <p:nvSpPr>
          <p:cNvPr id="3" name="Text Placeholder 2"/>
          <p:cNvSpPr>
            <a:spLocks noGrp="1"/>
          </p:cNvSpPr>
          <p:nvPr>
            <p:ph type="body" idx="1"/>
            <p:custDataLst>
              <p:tags r:id="rId11"/>
            </p:custDataLst>
          </p:nvPr>
        </p:nvSpPr>
        <p:spPr>
          <a:xfrm>
            <a:off x="398022" y="1501978"/>
            <a:ext cx="11616153" cy="4636540"/>
          </a:xfrm>
          <a:prstGeom prst="rect">
            <a:avLst/>
          </a:prstGeom>
        </p:spPr>
        <p:txBody>
          <a:bodyPr vert="horz" lIns="92038" tIns="61358" rIns="61358" bIns="61358" rtlCol="0">
            <a:noAutofit/>
          </a:body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17" name="Line 7"/>
          <p:cNvSpPr>
            <a:spLocks noChangeShapeType="1"/>
          </p:cNvSpPr>
          <p:nvPr/>
        </p:nvSpPr>
        <p:spPr bwMode="gray">
          <a:xfrm>
            <a:off x="11588751" y="6450412"/>
            <a:ext cx="0" cy="319616"/>
          </a:xfrm>
          <a:prstGeom prst="line">
            <a:avLst/>
          </a:prstGeom>
          <a:noFill/>
          <a:ln w="9525">
            <a:solidFill>
              <a:srgbClr val="969696"/>
            </a:solidFill>
            <a:round/>
            <a:headEnd/>
            <a:tailEnd/>
          </a:ln>
          <a:effectLst/>
        </p:spPr>
        <p:txBody>
          <a:bodyPr wrap="none" anchor="ctr"/>
          <a:lstStyle/>
          <a:p>
            <a:endParaRPr lang="en-US" sz="2133" dirty="0">
              <a:solidFill>
                <a:schemeClr val="tx2"/>
              </a:solidFill>
              <a:latin typeface="Verdana" panose="020B0604030504040204" pitchFamily="34" charset="0"/>
              <a:ea typeface="Verdana" panose="020B0604030504040204" pitchFamily="34" charset="0"/>
              <a:cs typeface="Verdana" panose="020B0604030504040204" pitchFamily="34" charset="0"/>
            </a:endParaRPr>
          </a:p>
        </p:txBody>
      </p:sp>
      <p:sp>
        <p:nvSpPr>
          <p:cNvPr id="18" name="Text Box 8"/>
          <p:cNvSpPr txBox="1">
            <a:spLocks noChangeArrowheads="1"/>
          </p:cNvSpPr>
          <p:nvPr/>
        </p:nvSpPr>
        <p:spPr bwMode="gray">
          <a:xfrm>
            <a:off x="11588753" y="6448295"/>
            <a:ext cx="603249" cy="323851"/>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933">
                <a:solidFill>
                  <a:srgbClr val="969696"/>
                </a:solidFill>
                <a:latin typeface="Verdana" panose="020B0604030504040204" pitchFamily="34" charset="0"/>
                <a:ea typeface="Verdana" panose="020B0604030504040204" pitchFamily="34" charset="0"/>
                <a:cs typeface="Verdana" panose="020B0604030504040204" pitchFamily="34" charset="0"/>
              </a:rPr>
              <a:pPr eaLnBrk="0" hangingPunct="0">
                <a:lnSpc>
                  <a:spcPct val="85000"/>
                </a:lnSpc>
              </a:pPr>
              <a:t>‹#›</a:t>
            </a:fld>
            <a:endParaRPr lang="en-US" sz="933" dirty="0">
              <a:solidFill>
                <a:srgbClr val="969696"/>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Text Box 9"/>
          <p:cNvSpPr txBox="1">
            <a:spLocks noChangeArrowheads="1"/>
          </p:cNvSpPr>
          <p:nvPr/>
        </p:nvSpPr>
        <p:spPr bwMode="gray">
          <a:xfrm>
            <a:off x="5475818" y="6513913"/>
            <a:ext cx="6068484" cy="179601"/>
          </a:xfrm>
          <a:prstGeom prst="rect">
            <a:avLst/>
          </a:prstGeom>
          <a:noFill/>
          <a:ln w="12700" algn="ctr">
            <a:noFill/>
            <a:miter lim="800000"/>
            <a:headEnd/>
            <a:tailEnd type="none" w="lg" len="lg"/>
          </a:ln>
          <a:effectLst/>
        </p:spPr>
        <p:txBody>
          <a:bodyPr>
            <a:spAutoFit/>
          </a:bodyPr>
          <a:lstStyle/>
          <a:p>
            <a:pPr algn="r" eaLnBrk="0" hangingPunct="0">
              <a:lnSpc>
                <a:spcPct val="85000"/>
              </a:lnSpc>
            </a:pPr>
            <a:r>
              <a:rPr lang="en-US" sz="667" dirty="0">
                <a:solidFill>
                  <a:schemeClr val="tx2"/>
                </a:solidFill>
                <a:latin typeface="Verdana" panose="020B0604030504040204" pitchFamily="34" charset="0"/>
                <a:ea typeface="Verdana" panose="020B0604030504040204" pitchFamily="34" charset="0"/>
                <a:cs typeface="Verdana" panose="020B0604030504040204" pitchFamily="34" charset="0"/>
              </a:rPr>
              <a:t>The information contained in this document is proprietary. Copyright © 2018 Capgemini. All rights reserved.</a:t>
            </a:r>
          </a:p>
        </p:txBody>
      </p:sp>
      <p:pic>
        <p:nvPicPr>
          <p:cNvPr id="24" name="Graphic 9">
            <a:extLst>
              <a:ext uri="{FF2B5EF4-FFF2-40B4-BE49-F238E27FC236}">
                <a16:creationId xmlns:a16="http://schemas.microsoft.com/office/drawing/2014/main" id="{C3D2EC56-D17C-4A75-8178-C69397BC7353}"/>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306831" y="6429448"/>
            <a:ext cx="1412968" cy="315237"/>
          </a:xfrm>
          <a:prstGeom prst="rect">
            <a:avLst/>
          </a:prstGeom>
        </p:spPr>
      </p:pic>
    </p:spTree>
    <p:extLst>
      <p:ext uri="{BB962C8B-B14F-4D97-AF65-F5344CB8AC3E}">
        <p14:creationId xmlns:p14="http://schemas.microsoft.com/office/powerpoint/2010/main" val="3957451969"/>
      </p:ext>
    </p:extLst>
  </p:cSld>
  <p:clrMap bg1="lt1" tx1="dk1" bg2="lt2" tx2="dk2" accent1="accent1" accent2="accent2" accent3="accent3" accent4="accent4" accent5="accent5" accent6="accent6" hlink="hlink" folHlink="folHlink"/>
  <p:sldLayoutIdLst>
    <p:sldLayoutId id="2147484092" r:id="rId1"/>
    <p:sldLayoutId id="2147484093" r:id="rId2"/>
    <p:sldLayoutId id="2147484095" r:id="rId3"/>
    <p:sldLayoutId id="2147484096" r:id="rId4"/>
    <p:sldLayoutId id="2147484097" r:id="rId5"/>
    <p:sldLayoutId id="2147484098" r:id="rId6"/>
  </p:sldLayoutIdLst>
  <p:txStyles>
    <p:titleStyle>
      <a:lvl1pPr algn="l" defTabSz="1038910" rtl="0" eaLnBrk="1" latinLnBrk="0" hangingPunct="1">
        <a:lnSpc>
          <a:spcPct val="85000"/>
        </a:lnSpc>
        <a:spcBef>
          <a:spcPct val="0"/>
        </a:spcBef>
        <a:buNone/>
        <a:defRPr sz="2400" b="0" kern="1200" spc="-93" baseline="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302676" indent="-302676" algn="l" defTabSz="1038910" rtl="0" eaLnBrk="1" latinLnBrk="0" hangingPunct="1">
        <a:lnSpc>
          <a:spcPct val="90000"/>
        </a:lnSpc>
        <a:spcBef>
          <a:spcPts val="0"/>
        </a:spcBef>
        <a:spcAft>
          <a:spcPts val="681"/>
        </a:spcAft>
        <a:buClr>
          <a:schemeClr val="accent2"/>
        </a:buClr>
        <a:buFont typeface="Wingdings" pitchFamily="2" charset="2"/>
        <a:buChar char="§"/>
        <a:defRPr sz="2000" b="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15935" indent="-292093" algn="l" defTabSz="1038910" rtl="0" eaLnBrk="1" latinLnBrk="0" hangingPunct="1">
        <a:lnSpc>
          <a:spcPct val="90000"/>
        </a:lnSpc>
        <a:spcBef>
          <a:spcPts val="0"/>
        </a:spcBef>
        <a:spcAft>
          <a:spcPts val="681"/>
        </a:spcAft>
        <a:buClr>
          <a:schemeClr val="accent2"/>
        </a:buClr>
        <a:buFont typeface="Arial" panose="020B0604020202020204" pitchFamily="34" charset="0"/>
        <a:buChar char="–"/>
        <a:defRPr sz="16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42412" indent="-186262" algn="l" defTabSz="1038910" rtl="0" eaLnBrk="1" latinLnBrk="0" hangingPunct="1">
        <a:lnSpc>
          <a:spcPct val="90000"/>
        </a:lnSpc>
        <a:spcBef>
          <a:spcPts val="0"/>
        </a:spcBef>
        <a:spcAft>
          <a:spcPts val="681"/>
        </a:spcAft>
        <a:buClr>
          <a:schemeClr val="accent2"/>
        </a:buClr>
        <a:buFont typeface="Arial" pitchFamily="34" charset="0"/>
        <a:buChar char="•"/>
        <a:defRPr sz="14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068891" indent="-186262" algn="l" defTabSz="1038910" rtl="0" eaLnBrk="1" latinLnBrk="0" hangingPunct="1">
        <a:lnSpc>
          <a:spcPct val="90000"/>
        </a:lnSpc>
        <a:spcBef>
          <a:spcPts val="0"/>
        </a:spcBef>
        <a:spcAft>
          <a:spcPts val="681"/>
        </a:spcAft>
        <a:buClr>
          <a:schemeClr val="accent2"/>
        </a:buClr>
        <a:buFont typeface="Courier New" panose="02070309020205020404" pitchFamily="49" charset="0"/>
        <a:buChar char="o"/>
        <a:defRPr sz="14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917" indent="-220048" algn="l" defTabSz="1038910" rtl="0" eaLnBrk="1" latinLnBrk="0" hangingPunct="1">
        <a:spcBef>
          <a:spcPts val="0"/>
        </a:spcBef>
        <a:buClr>
          <a:srgbClr val="B1B1B1"/>
        </a:buClr>
        <a:buFont typeface="Arial" pitchFamily="34" charset="0"/>
        <a:buChar char="–"/>
        <a:defRPr sz="1867" kern="1200">
          <a:solidFill>
            <a:srgbClr val="494949"/>
          </a:solidFill>
          <a:latin typeface="+mn-lt"/>
          <a:ea typeface="+mn-ea"/>
          <a:cs typeface="+mn-cs"/>
        </a:defRPr>
      </a:lvl5pPr>
      <a:lvl6pPr marL="2857005"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60"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15"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370"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9pPr>
    </p:bodyStyle>
    <p:otherStyle>
      <a:defPPr>
        <a:defRPr lang="fr-FR"/>
      </a:defPPr>
      <a:lvl1pPr marL="0" algn="l" defTabSz="1038910" rtl="0" eaLnBrk="1" latinLnBrk="0" hangingPunct="1">
        <a:defRPr sz="2000" kern="1200">
          <a:solidFill>
            <a:schemeClr val="tx1"/>
          </a:solidFill>
          <a:latin typeface="+mn-lt"/>
          <a:ea typeface="+mn-ea"/>
          <a:cs typeface="+mn-cs"/>
        </a:defRPr>
      </a:lvl1pPr>
      <a:lvl2pPr marL="519455" algn="l" defTabSz="1038910" rtl="0" eaLnBrk="1" latinLnBrk="0" hangingPunct="1">
        <a:defRPr sz="2000" kern="1200">
          <a:solidFill>
            <a:schemeClr val="tx1"/>
          </a:solidFill>
          <a:latin typeface="+mn-lt"/>
          <a:ea typeface="+mn-ea"/>
          <a:cs typeface="+mn-cs"/>
        </a:defRPr>
      </a:lvl2pPr>
      <a:lvl3pPr marL="1038910" algn="l" defTabSz="1038910" rtl="0" eaLnBrk="1" latinLnBrk="0" hangingPunct="1">
        <a:defRPr sz="2000" kern="1200">
          <a:solidFill>
            <a:schemeClr val="tx1"/>
          </a:solidFill>
          <a:latin typeface="+mn-lt"/>
          <a:ea typeface="+mn-ea"/>
          <a:cs typeface="+mn-cs"/>
        </a:defRPr>
      </a:lvl3pPr>
      <a:lvl4pPr marL="1558365" algn="l" defTabSz="1038910" rtl="0" eaLnBrk="1" latinLnBrk="0" hangingPunct="1">
        <a:defRPr sz="2000" kern="1200">
          <a:solidFill>
            <a:schemeClr val="tx1"/>
          </a:solidFill>
          <a:latin typeface="+mn-lt"/>
          <a:ea typeface="+mn-ea"/>
          <a:cs typeface="+mn-cs"/>
        </a:defRPr>
      </a:lvl4pPr>
      <a:lvl5pPr marL="2077821" algn="l" defTabSz="1038910" rtl="0" eaLnBrk="1" latinLnBrk="0" hangingPunct="1">
        <a:defRPr sz="2000" kern="1200">
          <a:solidFill>
            <a:schemeClr val="tx1"/>
          </a:solidFill>
          <a:latin typeface="+mn-lt"/>
          <a:ea typeface="+mn-ea"/>
          <a:cs typeface="+mn-cs"/>
        </a:defRPr>
      </a:lvl5pPr>
      <a:lvl6pPr marL="2597276" algn="l" defTabSz="1038910" rtl="0" eaLnBrk="1" latinLnBrk="0" hangingPunct="1">
        <a:defRPr sz="2000" kern="1200">
          <a:solidFill>
            <a:schemeClr val="tx1"/>
          </a:solidFill>
          <a:latin typeface="+mn-lt"/>
          <a:ea typeface="+mn-ea"/>
          <a:cs typeface="+mn-cs"/>
        </a:defRPr>
      </a:lvl6pPr>
      <a:lvl7pPr marL="3116731" algn="l" defTabSz="1038910" rtl="0" eaLnBrk="1" latinLnBrk="0" hangingPunct="1">
        <a:defRPr sz="2000" kern="1200">
          <a:solidFill>
            <a:schemeClr val="tx1"/>
          </a:solidFill>
          <a:latin typeface="+mn-lt"/>
          <a:ea typeface="+mn-ea"/>
          <a:cs typeface="+mn-cs"/>
        </a:defRPr>
      </a:lvl7pPr>
      <a:lvl8pPr marL="3636188" algn="l" defTabSz="1038910" rtl="0" eaLnBrk="1" latinLnBrk="0" hangingPunct="1">
        <a:defRPr sz="2000" kern="1200">
          <a:solidFill>
            <a:schemeClr val="tx1"/>
          </a:solidFill>
          <a:latin typeface="+mn-lt"/>
          <a:ea typeface="+mn-ea"/>
          <a:cs typeface="+mn-cs"/>
        </a:defRPr>
      </a:lvl8pPr>
      <a:lvl9pPr marL="4155643" algn="l" defTabSz="1038910" rtl="0" eaLnBrk="1" latinLnBrk="0" hangingPunct="1">
        <a:defRPr sz="20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1" y="1"/>
          <a:ext cx="195384" cy="158751"/>
        </p:xfrm>
        <a:graphic>
          <a:graphicData uri="http://schemas.openxmlformats.org/presentationml/2006/ole">
            <mc:AlternateContent xmlns:mc="http://schemas.openxmlformats.org/markup-compatibility/2006">
              <mc:Choice xmlns:v="urn:schemas-microsoft-com:vml" Requires="v">
                <p:oleObj spid="_x0000_s28674" name="think-cell Slide" r:id="rId12" imgW="360" imgH="360" progId="">
                  <p:embed/>
                </p:oleObj>
              </mc:Choice>
              <mc:Fallback>
                <p:oleObj name="think-cell Slide" r:id="rId12" imgW="360" imgH="360" progId="">
                  <p:embed/>
                  <p:pic>
                    <p:nvPicPr>
                      <p:cNvPr id="8" name="Object 7"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 y="1"/>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2" y="1"/>
            <a:ext cx="12191999" cy="1062180"/>
          </a:xfrm>
          <a:prstGeom prst="rect">
            <a:avLst/>
          </a:prstGeom>
        </p:spPr>
        <p:txBody>
          <a:bodyPr vert="horz" lIns="253554" tIns="28173" rIns="140864" bIns="28173" rtlCol="0" anchor="ctr">
            <a:noAutofit/>
          </a:bodyPr>
          <a:lstStyle/>
          <a:p>
            <a:r>
              <a:rPr lang="en-US" noProof="0" err="1"/>
              <a:t>Cliquez</a:t>
            </a:r>
            <a:r>
              <a:rPr lang="en-US" noProof="0"/>
              <a:t> pour modifier le style du </a:t>
            </a:r>
            <a:r>
              <a:rPr lang="en-US" noProof="0" err="1"/>
              <a:t>titre</a:t>
            </a:r>
            <a:endParaRPr lang="en-US" noProof="0"/>
          </a:p>
        </p:txBody>
      </p:sp>
      <p:sp>
        <p:nvSpPr>
          <p:cNvPr id="3" name="Text Placeholder 2"/>
          <p:cNvSpPr>
            <a:spLocks noGrp="1"/>
          </p:cNvSpPr>
          <p:nvPr>
            <p:ph type="body" idx="1"/>
            <p:custDataLst>
              <p:tags r:id="rId11"/>
            </p:custDataLst>
          </p:nvPr>
        </p:nvSpPr>
        <p:spPr>
          <a:xfrm>
            <a:off x="398022" y="1501978"/>
            <a:ext cx="11616153" cy="4636540"/>
          </a:xfrm>
          <a:prstGeom prst="rect">
            <a:avLst/>
          </a:prstGeom>
        </p:spPr>
        <p:txBody>
          <a:bodyPr vert="horz" lIns="92038" tIns="61358" rIns="61358" bIns="61358" rtlCol="0">
            <a:noAutofit/>
          </a:body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17" name="Line 7"/>
          <p:cNvSpPr>
            <a:spLocks noChangeShapeType="1"/>
          </p:cNvSpPr>
          <p:nvPr/>
        </p:nvSpPr>
        <p:spPr bwMode="gray">
          <a:xfrm>
            <a:off x="11588751" y="6450412"/>
            <a:ext cx="0" cy="319616"/>
          </a:xfrm>
          <a:prstGeom prst="line">
            <a:avLst/>
          </a:prstGeom>
          <a:noFill/>
          <a:ln w="9525">
            <a:solidFill>
              <a:srgbClr val="969696"/>
            </a:solidFill>
            <a:round/>
            <a:headEnd/>
            <a:tailEnd/>
          </a:ln>
          <a:effectLst/>
        </p:spPr>
        <p:txBody>
          <a:bodyPr wrap="none" anchor="ctr"/>
          <a:lstStyle/>
          <a:p>
            <a:endParaRPr lang="en-US" sz="2133" dirty="0">
              <a:solidFill>
                <a:schemeClr val="tx2"/>
              </a:solidFill>
              <a:latin typeface="Verdana" panose="020B0604030504040204" pitchFamily="34" charset="0"/>
              <a:ea typeface="Verdana" panose="020B0604030504040204" pitchFamily="34" charset="0"/>
              <a:cs typeface="Verdana" panose="020B0604030504040204" pitchFamily="34" charset="0"/>
            </a:endParaRPr>
          </a:p>
        </p:txBody>
      </p:sp>
      <p:sp>
        <p:nvSpPr>
          <p:cNvPr id="18" name="Text Box 8"/>
          <p:cNvSpPr txBox="1">
            <a:spLocks noChangeArrowheads="1"/>
          </p:cNvSpPr>
          <p:nvPr/>
        </p:nvSpPr>
        <p:spPr bwMode="gray">
          <a:xfrm>
            <a:off x="11588753" y="6448295"/>
            <a:ext cx="603249" cy="323851"/>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933">
                <a:solidFill>
                  <a:srgbClr val="969696"/>
                </a:solidFill>
                <a:latin typeface="Verdana" panose="020B0604030504040204" pitchFamily="34" charset="0"/>
                <a:ea typeface="Verdana" panose="020B0604030504040204" pitchFamily="34" charset="0"/>
                <a:cs typeface="Verdana" panose="020B0604030504040204" pitchFamily="34" charset="0"/>
              </a:rPr>
              <a:pPr eaLnBrk="0" hangingPunct="0">
                <a:lnSpc>
                  <a:spcPct val="85000"/>
                </a:lnSpc>
              </a:pPr>
              <a:t>‹#›</a:t>
            </a:fld>
            <a:endParaRPr lang="en-US" sz="933" dirty="0">
              <a:solidFill>
                <a:srgbClr val="969696"/>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Text Box 9"/>
          <p:cNvSpPr txBox="1">
            <a:spLocks noChangeArrowheads="1"/>
          </p:cNvSpPr>
          <p:nvPr/>
        </p:nvSpPr>
        <p:spPr bwMode="gray">
          <a:xfrm>
            <a:off x="5475818" y="6513913"/>
            <a:ext cx="6068484" cy="179601"/>
          </a:xfrm>
          <a:prstGeom prst="rect">
            <a:avLst/>
          </a:prstGeom>
          <a:noFill/>
          <a:ln w="12700" algn="ctr">
            <a:noFill/>
            <a:miter lim="800000"/>
            <a:headEnd/>
            <a:tailEnd type="none" w="lg" len="lg"/>
          </a:ln>
          <a:effectLst/>
        </p:spPr>
        <p:txBody>
          <a:bodyPr>
            <a:spAutoFit/>
          </a:bodyPr>
          <a:lstStyle/>
          <a:p>
            <a:pPr algn="r" eaLnBrk="0" hangingPunct="0">
              <a:lnSpc>
                <a:spcPct val="85000"/>
              </a:lnSpc>
            </a:pPr>
            <a:r>
              <a:rPr lang="en-US" sz="667" dirty="0">
                <a:solidFill>
                  <a:schemeClr val="tx2"/>
                </a:solidFill>
                <a:latin typeface="Verdana" panose="020B0604030504040204" pitchFamily="34" charset="0"/>
                <a:ea typeface="Verdana" panose="020B0604030504040204" pitchFamily="34" charset="0"/>
                <a:cs typeface="Verdana" panose="020B0604030504040204" pitchFamily="34" charset="0"/>
              </a:rPr>
              <a:t>The information contained in this document is proprietary. Copyright © 2018 Capgemini. All rights reserved.</a:t>
            </a:r>
          </a:p>
        </p:txBody>
      </p:sp>
      <p:pic>
        <p:nvPicPr>
          <p:cNvPr id="24" name="Graphic 9">
            <a:extLst>
              <a:ext uri="{FF2B5EF4-FFF2-40B4-BE49-F238E27FC236}">
                <a16:creationId xmlns:a16="http://schemas.microsoft.com/office/drawing/2014/main" id="{C3D2EC56-D17C-4A75-8178-C69397BC7353}"/>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306831" y="6429448"/>
            <a:ext cx="1412968" cy="315237"/>
          </a:xfrm>
          <a:prstGeom prst="rect">
            <a:avLst/>
          </a:prstGeom>
        </p:spPr>
      </p:pic>
    </p:spTree>
    <p:extLst>
      <p:ext uri="{BB962C8B-B14F-4D97-AF65-F5344CB8AC3E}">
        <p14:creationId xmlns:p14="http://schemas.microsoft.com/office/powerpoint/2010/main" val="1002230111"/>
      </p:ext>
    </p:extLst>
  </p:cSld>
  <p:clrMap bg1="lt1" tx1="dk1" bg2="lt2" tx2="dk2" accent1="accent1" accent2="accent2" accent3="accent3" accent4="accent4" accent5="accent5" accent6="accent6" hlink="hlink" folHlink="folHlink"/>
  <p:sldLayoutIdLst>
    <p:sldLayoutId id="2147484100" r:id="rId1"/>
    <p:sldLayoutId id="2147484101" r:id="rId2"/>
    <p:sldLayoutId id="2147484103" r:id="rId3"/>
    <p:sldLayoutId id="2147484104" r:id="rId4"/>
    <p:sldLayoutId id="2147484105" r:id="rId5"/>
    <p:sldLayoutId id="2147484106" r:id="rId6"/>
  </p:sldLayoutIdLst>
  <p:txStyles>
    <p:titleStyle>
      <a:lvl1pPr algn="l" defTabSz="1038910" rtl="0" eaLnBrk="1" latinLnBrk="0" hangingPunct="1">
        <a:lnSpc>
          <a:spcPct val="85000"/>
        </a:lnSpc>
        <a:spcBef>
          <a:spcPct val="0"/>
        </a:spcBef>
        <a:buNone/>
        <a:defRPr sz="2400" b="0" kern="1200" spc="-93" baseline="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302676" indent="-302676" algn="l" defTabSz="1038910" rtl="0" eaLnBrk="1" latinLnBrk="0" hangingPunct="1">
        <a:lnSpc>
          <a:spcPct val="90000"/>
        </a:lnSpc>
        <a:spcBef>
          <a:spcPts val="0"/>
        </a:spcBef>
        <a:spcAft>
          <a:spcPts val="681"/>
        </a:spcAft>
        <a:buClr>
          <a:schemeClr val="accent2"/>
        </a:buClr>
        <a:buFont typeface="Wingdings" pitchFamily="2" charset="2"/>
        <a:buChar char="§"/>
        <a:defRPr sz="2000" b="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15935" indent="-292093" algn="l" defTabSz="1038910" rtl="0" eaLnBrk="1" latinLnBrk="0" hangingPunct="1">
        <a:lnSpc>
          <a:spcPct val="90000"/>
        </a:lnSpc>
        <a:spcBef>
          <a:spcPts val="0"/>
        </a:spcBef>
        <a:spcAft>
          <a:spcPts val="681"/>
        </a:spcAft>
        <a:buClr>
          <a:schemeClr val="accent2"/>
        </a:buClr>
        <a:buFont typeface="Arial" panose="020B0604020202020204" pitchFamily="34" charset="0"/>
        <a:buChar char="–"/>
        <a:defRPr sz="16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42412" indent="-186262" algn="l" defTabSz="1038910" rtl="0" eaLnBrk="1" latinLnBrk="0" hangingPunct="1">
        <a:lnSpc>
          <a:spcPct val="90000"/>
        </a:lnSpc>
        <a:spcBef>
          <a:spcPts val="0"/>
        </a:spcBef>
        <a:spcAft>
          <a:spcPts val="681"/>
        </a:spcAft>
        <a:buClr>
          <a:schemeClr val="accent2"/>
        </a:buClr>
        <a:buFont typeface="Arial" pitchFamily="34" charset="0"/>
        <a:buChar char="•"/>
        <a:defRPr sz="14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068891" indent="-186262" algn="l" defTabSz="1038910" rtl="0" eaLnBrk="1" latinLnBrk="0" hangingPunct="1">
        <a:lnSpc>
          <a:spcPct val="90000"/>
        </a:lnSpc>
        <a:spcBef>
          <a:spcPts val="0"/>
        </a:spcBef>
        <a:spcAft>
          <a:spcPts val="681"/>
        </a:spcAft>
        <a:buClr>
          <a:schemeClr val="accent2"/>
        </a:buClr>
        <a:buFont typeface="Courier New" panose="02070309020205020404" pitchFamily="49" charset="0"/>
        <a:buChar char="o"/>
        <a:defRPr sz="14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917" indent="-220048" algn="l" defTabSz="1038910" rtl="0" eaLnBrk="1" latinLnBrk="0" hangingPunct="1">
        <a:spcBef>
          <a:spcPts val="0"/>
        </a:spcBef>
        <a:buClr>
          <a:srgbClr val="B1B1B1"/>
        </a:buClr>
        <a:buFont typeface="Arial" pitchFamily="34" charset="0"/>
        <a:buChar char="–"/>
        <a:defRPr sz="1867" kern="1200">
          <a:solidFill>
            <a:srgbClr val="494949"/>
          </a:solidFill>
          <a:latin typeface="+mn-lt"/>
          <a:ea typeface="+mn-ea"/>
          <a:cs typeface="+mn-cs"/>
        </a:defRPr>
      </a:lvl5pPr>
      <a:lvl6pPr marL="2857005"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60"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15"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370"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9pPr>
    </p:bodyStyle>
    <p:otherStyle>
      <a:defPPr>
        <a:defRPr lang="fr-FR"/>
      </a:defPPr>
      <a:lvl1pPr marL="0" algn="l" defTabSz="1038910" rtl="0" eaLnBrk="1" latinLnBrk="0" hangingPunct="1">
        <a:defRPr sz="2000" kern="1200">
          <a:solidFill>
            <a:schemeClr val="tx1"/>
          </a:solidFill>
          <a:latin typeface="+mn-lt"/>
          <a:ea typeface="+mn-ea"/>
          <a:cs typeface="+mn-cs"/>
        </a:defRPr>
      </a:lvl1pPr>
      <a:lvl2pPr marL="519455" algn="l" defTabSz="1038910" rtl="0" eaLnBrk="1" latinLnBrk="0" hangingPunct="1">
        <a:defRPr sz="2000" kern="1200">
          <a:solidFill>
            <a:schemeClr val="tx1"/>
          </a:solidFill>
          <a:latin typeface="+mn-lt"/>
          <a:ea typeface="+mn-ea"/>
          <a:cs typeface="+mn-cs"/>
        </a:defRPr>
      </a:lvl2pPr>
      <a:lvl3pPr marL="1038910" algn="l" defTabSz="1038910" rtl="0" eaLnBrk="1" latinLnBrk="0" hangingPunct="1">
        <a:defRPr sz="2000" kern="1200">
          <a:solidFill>
            <a:schemeClr val="tx1"/>
          </a:solidFill>
          <a:latin typeface="+mn-lt"/>
          <a:ea typeface="+mn-ea"/>
          <a:cs typeface="+mn-cs"/>
        </a:defRPr>
      </a:lvl3pPr>
      <a:lvl4pPr marL="1558365" algn="l" defTabSz="1038910" rtl="0" eaLnBrk="1" latinLnBrk="0" hangingPunct="1">
        <a:defRPr sz="2000" kern="1200">
          <a:solidFill>
            <a:schemeClr val="tx1"/>
          </a:solidFill>
          <a:latin typeface="+mn-lt"/>
          <a:ea typeface="+mn-ea"/>
          <a:cs typeface="+mn-cs"/>
        </a:defRPr>
      </a:lvl4pPr>
      <a:lvl5pPr marL="2077821" algn="l" defTabSz="1038910" rtl="0" eaLnBrk="1" latinLnBrk="0" hangingPunct="1">
        <a:defRPr sz="2000" kern="1200">
          <a:solidFill>
            <a:schemeClr val="tx1"/>
          </a:solidFill>
          <a:latin typeface="+mn-lt"/>
          <a:ea typeface="+mn-ea"/>
          <a:cs typeface="+mn-cs"/>
        </a:defRPr>
      </a:lvl5pPr>
      <a:lvl6pPr marL="2597276" algn="l" defTabSz="1038910" rtl="0" eaLnBrk="1" latinLnBrk="0" hangingPunct="1">
        <a:defRPr sz="2000" kern="1200">
          <a:solidFill>
            <a:schemeClr val="tx1"/>
          </a:solidFill>
          <a:latin typeface="+mn-lt"/>
          <a:ea typeface="+mn-ea"/>
          <a:cs typeface="+mn-cs"/>
        </a:defRPr>
      </a:lvl6pPr>
      <a:lvl7pPr marL="3116731" algn="l" defTabSz="1038910" rtl="0" eaLnBrk="1" latinLnBrk="0" hangingPunct="1">
        <a:defRPr sz="2000" kern="1200">
          <a:solidFill>
            <a:schemeClr val="tx1"/>
          </a:solidFill>
          <a:latin typeface="+mn-lt"/>
          <a:ea typeface="+mn-ea"/>
          <a:cs typeface="+mn-cs"/>
        </a:defRPr>
      </a:lvl7pPr>
      <a:lvl8pPr marL="3636188" algn="l" defTabSz="1038910" rtl="0" eaLnBrk="1" latinLnBrk="0" hangingPunct="1">
        <a:defRPr sz="2000" kern="1200">
          <a:solidFill>
            <a:schemeClr val="tx1"/>
          </a:solidFill>
          <a:latin typeface="+mn-lt"/>
          <a:ea typeface="+mn-ea"/>
          <a:cs typeface="+mn-cs"/>
        </a:defRPr>
      </a:lvl8pPr>
      <a:lvl9pPr marL="4155643" algn="l" defTabSz="1038910" rtl="0" eaLnBrk="1" latinLnBrk="0" hangingPunct="1">
        <a:defRPr sz="20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3.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1.xml"/><Relationship Id="rId1" Type="http://schemas.openxmlformats.org/officeDocument/2006/relationships/slideLayout" Target="../slideLayouts/slideLayout3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xml"/><Relationship Id="rId1" Type="http://schemas.openxmlformats.org/officeDocument/2006/relationships/slideLayout" Target="../slideLayouts/slideLayout8.xml"/><Relationship Id="rId4" Type="http://schemas.openxmlformats.org/officeDocument/2006/relationships/image" Target="../media/image23.png"/></Relationships>
</file>

<file path=ppt/slides/_rels/slide7.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0C56629-1F16-42AA-A429-88514B4AD9BA}"/>
              </a:ext>
            </a:extLst>
          </p:cNvPr>
          <p:cNvSpPr>
            <a:spLocks noGrp="1"/>
          </p:cNvSpPr>
          <p:nvPr>
            <p:ph type="body" sz="quarter" idx="11"/>
          </p:nvPr>
        </p:nvSpPr>
        <p:spPr/>
        <p:txBody>
          <a:bodyPr>
            <a:noAutofit/>
          </a:bodyPr>
          <a:lstStyle/>
          <a:p>
            <a:r>
              <a:rPr lang="en-US" dirty="0"/>
              <a:t>Customer Data Discovery</a:t>
            </a:r>
          </a:p>
          <a:p>
            <a:endParaRPr lang="en-US" sz="2800" dirty="0"/>
          </a:p>
          <a:p>
            <a:r>
              <a:rPr lang="en-US" sz="2800" dirty="0"/>
              <a:t>Billing Operations &amp; AMO</a:t>
            </a:r>
          </a:p>
        </p:txBody>
      </p:sp>
      <p:sp>
        <p:nvSpPr>
          <p:cNvPr id="3" name="Text Placeholder 2">
            <a:extLst>
              <a:ext uri="{FF2B5EF4-FFF2-40B4-BE49-F238E27FC236}">
                <a16:creationId xmlns:a16="http://schemas.microsoft.com/office/drawing/2014/main" id="{0CE49C95-3AE8-443B-BB35-993B14740F41}"/>
              </a:ext>
            </a:extLst>
          </p:cNvPr>
          <p:cNvSpPr>
            <a:spLocks noGrp="1"/>
          </p:cNvSpPr>
          <p:nvPr>
            <p:ph type="body" sz="quarter" idx="12"/>
          </p:nvPr>
        </p:nvSpPr>
        <p:spPr/>
        <p:txBody>
          <a:bodyPr/>
          <a:lstStyle/>
          <a:p>
            <a:endParaRPr lang="en-US" dirty="0"/>
          </a:p>
          <a:p>
            <a:r>
              <a:rPr lang="en-US" dirty="0"/>
              <a:t>July 8</a:t>
            </a:r>
            <a:r>
              <a:rPr lang="en-US" baseline="30000" dirty="0"/>
              <a:t>th</a:t>
            </a:r>
            <a:r>
              <a:rPr lang="en-US" dirty="0"/>
              <a:t>, 2020</a:t>
            </a:r>
          </a:p>
          <a:p>
            <a:endParaRPr lang="en-US" dirty="0"/>
          </a:p>
        </p:txBody>
      </p:sp>
    </p:spTree>
    <p:extLst>
      <p:ext uri="{BB962C8B-B14F-4D97-AF65-F5344CB8AC3E}">
        <p14:creationId xmlns:p14="http://schemas.microsoft.com/office/powerpoint/2010/main" val="19081223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rrow: Chevron 1">
            <a:extLst>
              <a:ext uri="{FF2B5EF4-FFF2-40B4-BE49-F238E27FC236}">
                <a16:creationId xmlns:a16="http://schemas.microsoft.com/office/drawing/2014/main" id="{B36071CE-BA7C-4CA0-8A3C-1431AACA69A7}"/>
              </a:ext>
            </a:extLst>
          </p:cNvPr>
          <p:cNvSpPr/>
          <p:nvPr/>
        </p:nvSpPr>
        <p:spPr>
          <a:xfrm>
            <a:off x="3018974" y="684814"/>
            <a:ext cx="8969828" cy="316676"/>
          </a:xfrm>
          <a:prstGeom prst="chevron">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rPr>
              <a:t>Billing Operations &amp; Account Management</a:t>
            </a:r>
          </a:p>
        </p:txBody>
      </p:sp>
      <p:sp>
        <p:nvSpPr>
          <p:cNvPr id="251" name="Rectangle: Rounded Corners 250">
            <a:extLst>
              <a:ext uri="{FF2B5EF4-FFF2-40B4-BE49-F238E27FC236}">
                <a16:creationId xmlns:a16="http://schemas.microsoft.com/office/drawing/2014/main" id="{2216B93E-1271-4585-8864-9D08A2B7ECAA}"/>
              </a:ext>
            </a:extLst>
          </p:cNvPr>
          <p:cNvSpPr/>
          <p:nvPr/>
        </p:nvSpPr>
        <p:spPr>
          <a:xfrm>
            <a:off x="3011725" y="1502236"/>
            <a:ext cx="8969827" cy="4397820"/>
          </a:xfrm>
          <a:prstGeom prst="roundRect">
            <a:avLst>
              <a:gd name="adj" fmla="val 5975"/>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42" name="Title 4">
            <a:extLst>
              <a:ext uri="{FF2B5EF4-FFF2-40B4-BE49-F238E27FC236}">
                <a16:creationId xmlns:a16="http://schemas.microsoft.com/office/drawing/2014/main" id="{2687436A-6D9F-4DB5-A740-A7B3C375CABF}"/>
              </a:ext>
            </a:extLst>
          </p:cNvPr>
          <p:cNvSpPr>
            <a:spLocks noGrp="1"/>
          </p:cNvSpPr>
          <p:nvPr>
            <p:ph type="title"/>
          </p:nvPr>
        </p:nvSpPr>
        <p:spPr>
          <a:xfrm>
            <a:off x="2" y="1"/>
            <a:ext cx="12191999" cy="1062180"/>
          </a:xfrm>
        </p:spPr>
        <p:txBody>
          <a:bodyPr/>
          <a:lstStyle/>
          <a:p>
            <a:r>
              <a:rPr lang="en-US" dirty="0"/>
              <a:t>Data Flows</a:t>
            </a:r>
          </a:p>
        </p:txBody>
      </p:sp>
      <p:sp>
        <p:nvSpPr>
          <p:cNvPr id="43" name="Arrow: Chevron 42">
            <a:extLst>
              <a:ext uri="{FF2B5EF4-FFF2-40B4-BE49-F238E27FC236}">
                <a16:creationId xmlns:a16="http://schemas.microsoft.com/office/drawing/2014/main" id="{301DBBD4-087E-4A59-B167-A11A250105A4}"/>
              </a:ext>
            </a:extLst>
          </p:cNvPr>
          <p:cNvSpPr/>
          <p:nvPr/>
        </p:nvSpPr>
        <p:spPr>
          <a:xfrm>
            <a:off x="3026234" y="1069447"/>
            <a:ext cx="2779485" cy="316676"/>
          </a:xfrm>
          <a:prstGeom prst="chevron">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2">
                    <a:lumMod val="50000"/>
                  </a:schemeClr>
                </a:solidFill>
              </a:rPr>
              <a:t>Upstream Data</a:t>
            </a:r>
          </a:p>
        </p:txBody>
      </p:sp>
      <p:sp>
        <p:nvSpPr>
          <p:cNvPr id="61" name="Arrow: Chevron 60">
            <a:extLst>
              <a:ext uri="{FF2B5EF4-FFF2-40B4-BE49-F238E27FC236}">
                <a16:creationId xmlns:a16="http://schemas.microsoft.com/office/drawing/2014/main" id="{26124481-1323-414C-953D-A42CF7A23542}"/>
              </a:ext>
            </a:extLst>
          </p:cNvPr>
          <p:cNvSpPr/>
          <p:nvPr/>
        </p:nvSpPr>
        <p:spPr>
          <a:xfrm>
            <a:off x="6154062" y="1076707"/>
            <a:ext cx="2779485" cy="316676"/>
          </a:xfrm>
          <a:prstGeom prst="chevron">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2">
                    <a:lumMod val="50000"/>
                  </a:schemeClr>
                </a:solidFill>
              </a:rPr>
              <a:t>Transactional Data</a:t>
            </a:r>
          </a:p>
        </p:txBody>
      </p:sp>
      <p:sp>
        <p:nvSpPr>
          <p:cNvPr id="62" name="Arrow: Chevron 61">
            <a:extLst>
              <a:ext uri="{FF2B5EF4-FFF2-40B4-BE49-F238E27FC236}">
                <a16:creationId xmlns:a16="http://schemas.microsoft.com/office/drawing/2014/main" id="{34067E61-5048-47C2-8BE3-0D62CD4CF70C}"/>
              </a:ext>
            </a:extLst>
          </p:cNvPr>
          <p:cNvSpPr/>
          <p:nvPr/>
        </p:nvSpPr>
        <p:spPr>
          <a:xfrm>
            <a:off x="9202067" y="1091221"/>
            <a:ext cx="2779485" cy="316676"/>
          </a:xfrm>
          <a:prstGeom prst="chevron">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2">
                    <a:lumMod val="50000"/>
                  </a:schemeClr>
                </a:solidFill>
              </a:rPr>
              <a:t>Downstream Data</a:t>
            </a:r>
          </a:p>
        </p:txBody>
      </p:sp>
      <p:sp>
        <p:nvSpPr>
          <p:cNvPr id="63" name="TextBox 62">
            <a:extLst>
              <a:ext uri="{FF2B5EF4-FFF2-40B4-BE49-F238E27FC236}">
                <a16:creationId xmlns:a16="http://schemas.microsoft.com/office/drawing/2014/main" id="{91535DED-413E-480C-BB61-3A89ABCDF8C0}"/>
              </a:ext>
            </a:extLst>
          </p:cNvPr>
          <p:cNvSpPr txBox="1"/>
          <p:nvPr/>
        </p:nvSpPr>
        <p:spPr>
          <a:xfrm>
            <a:off x="10435773" y="203198"/>
            <a:ext cx="1555234" cy="307777"/>
          </a:xfrm>
          <a:prstGeom prst="rect">
            <a:avLst/>
          </a:prstGeom>
          <a:noFill/>
        </p:spPr>
        <p:txBody>
          <a:bodyPr wrap="none" rtlCol="0">
            <a:spAutoFit/>
          </a:bodyPr>
          <a:lstStyle/>
          <a:p>
            <a:r>
              <a:rPr lang="en-US" sz="1400" i="1" dirty="0">
                <a:solidFill>
                  <a:schemeClr val="tx2">
                    <a:lumMod val="50000"/>
                  </a:schemeClr>
                </a:solidFill>
              </a:rPr>
              <a:t>Live Discussion</a:t>
            </a:r>
          </a:p>
        </p:txBody>
      </p:sp>
      <p:cxnSp>
        <p:nvCxnSpPr>
          <p:cNvPr id="64" name="Straight Connector 63">
            <a:extLst>
              <a:ext uri="{FF2B5EF4-FFF2-40B4-BE49-F238E27FC236}">
                <a16:creationId xmlns:a16="http://schemas.microsoft.com/office/drawing/2014/main" id="{CE39127E-E624-4916-A5E8-DC6453C5061E}"/>
              </a:ext>
            </a:extLst>
          </p:cNvPr>
          <p:cNvCxnSpPr/>
          <p:nvPr/>
        </p:nvCxnSpPr>
        <p:spPr>
          <a:xfrm>
            <a:off x="10406742" y="203198"/>
            <a:ext cx="1429667" cy="0"/>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B35F01E0-D8C0-4C9E-985F-7A06F857B260}"/>
              </a:ext>
            </a:extLst>
          </p:cNvPr>
          <p:cNvCxnSpPr/>
          <p:nvPr/>
        </p:nvCxnSpPr>
        <p:spPr>
          <a:xfrm>
            <a:off x="10428516" y="500738"/>
            <a:ext cx="1429667" cy="0"/>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68" name="Rectangle: Rounded Corners 67">
            <a:extLst>
              <a:ext uri="{FF2B5EF4-FFF2-40B4-BE49-F238E27FC236}">
                <a16:creationId xmlns:a16="http://schemas.microsoft.com/office/drawing/2014/main" id="{372C7B08-7F71-420A-920C-798F689B2FE0}"/>
              </a:ext>
            </a:extLst>
          </p:cNvPr>
          <p:cNvSpPr/>
          <p:nvPr/>
        </p:nvSpPr>
        <p:spPr>
          <a:xfrm>
            <a:off x="333829" y="1509495"/>
            <a:ext cx="2307771" cy="4397820"/>
          </a:xfrm>
          <a:prstGeom prst="roundRect">
            <a:avLst>
              <a:gd name="adj" fmla="val 5975"/>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indent="-174625">
              <a:buFont typeface="Arial" panose="020B0604020202020204" pitchFamily="34" charset="0"/>
              <a:buChar char="•"/>
            </a:pPr>
            <a:r>
              <a:rPr lang="en-US" sz="1100" dirty="0">
                <a:solidFill>
                  <a:schemeClr val="tx2">
                    <a:lumMod val="50000"/>
                  </a:schemeClr>
                </a:solidFill>
              </a:rPr>
              <a:t>?</a:t>
            </a:r>
          </a:p>
        </p:txBody>
      </p:sp>
      <p:sp>
        <p:nvSpPr>
          <p:cNvPr id="69" name="Arrow: Chevron 68">
            <a:extLst>
              <a:ext uri="{FF2B5EF4-FFF2-40B4-BE49-F238E27FC236}">
                <a16:creationId xmlns:a16="http://schemas.microsoft.com/office/drawing/2014/main" id="{22C8697F-CFBF-451E-85A0-A092C38C71C5}"/>
              </a:ext>
            </a:extLst>
          </p:cNvPr>
          <p:cNvSpPr/>
          <p:nvPr/>
        </p:nvSpPr>
        <p:spPr>
          <a:xfrm>
            <a:off x="399146" y="1054928"/>
            <a:ext cx="2242454" cy="316676"/>
          </a:xfrm>
          <a:prstGeom prst="chevron">
            <a:avLst>
              <a:gd name="adj" fmla="val 0"/>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rPr>
              <a:t>Pain Points</a:t>
            </a:r>
          </a:p>
        </p:txBody>
      </p:sp>
    </p:spTree>
    <p:extLst>
      <p:ext uri="{BB962C8B-B14F-4D97-AF65-F5344CB8AC3E}">
        <p14:creationId xmlns:p14="http://schemas.microsoft.com/office/powerpoint/2010/main" val="25004608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Title 4">
            <a:extLst>
              <a:ext uri="{FF2B5EF4-FFF2-40B4-BE49-F238E27FC236}">
                <a16:creationId xmlns:a16="http://schemas.microsoft.com/office/drawing/2014/main" id="{2687436A-6D9F-4DB5-A740-A7B3C375CABF}"/>
              </a:ext>
            </a:extLst>
          </p:cNvPr>
          <p:cNvSpPr>
            <a:spLocks noGrp="1"/>
          </p:cNvSpPr>
          <p:nvPr>
            <p:ph type="title"/>
          </p:nvPr>
        </p:nvSpPr>
        <p:spPr/>
        <p:txBody>
          <a:bodyPr/>
          <a:lstStyle/>
          <a:p>
            <a:r>
              <a:rPr lang="en-US" dirty="0"/>
              <a:t>Notes</a:t>
            </a:r>
          </a:p>
        </p:txBody>
      </p:sp>
      <p:sp>
        <p:nvSpPr>
          <p:cNvPr id="4" name="Content Placeholder 3">
            <a:extLst>
              <a:ext uri="{FF2B5EF4-FFF2-40B4-BE49-F238E27FC236}">
                <a16:creationId xmlns:a16="http://schemas.microsoft.com/office/drawing/2014/main" id="{2BC09AF3-ADA9-4417-A82F-D2DE17CE0D3C}"/>
              </a:ext>
            </a:extLst>
          </p:cNvPr>
          <p:cNvSpPr>
            <a:spLocks noGrp="1"/>
          </p:cNvSpPr>
          <p:nvPr>
            <p:ph idx="1"/>
          </p:nvPr>
        </p:nvSpPr>
        <p:spPr>
          <a:xfrm>
            <a:off x="398022" y="1103871"/>
            <a:ext cx="11793979" cy="4643751"/>
          </a:xfrm>
        </p:spPr>
        <p:txBody>
          <a:bodyPr/>
          <a:lstStyle/>
          <a:p>
            <a:r>
              <a:rPr lang="en-US" sz="1600" dirty="0"/>
              <a:t>?</a:t>
            </a:r>
          </a:p>
        </p:txBody>
      </p:sp>
      <p:sp>
        <p:nvSpPr>
          <p:cNvPr id="63" name="TextBox 62">
            <a:extLst>
              <a:ext uri="{FF2B5EF4-FFF2-40B4-BE49-F238E27FC236}">
                <a16:creationId xmlns:a16="http://schemas.microsoft.com/office/drawing/2014/main" id="{91535DED-413E-480C-BB61-3A89ABCDF8C0}"/>
              </a:ext>
            </a:extLst>
          </p:cNvPr>
          <p:cNvSpPr txBox="1"/>
          <p:nvPr/>
        </p:nvSpPr>
        <p:spPr>
          <a:xfrm>
            <a:off x="10435773" y="203198"/>
            <a:ext cx="1555234" cy="307777"/>
          </a:xfrm>
          <a:prstGeom prst="rect">
            <a:avLst/>
          </a:prstGeom>
          <a:noFill/>
        </p:spPr>
        <p:txBody>
          <a:bodyPr wrap="none" rtlCol="0">
            <a:spAutoFit/>
          </a:bodyPr>
          <a:lstStyle/>
          <a:p>
            <a:r>
              <a:rPr lang="en-US" sz="1400" i="1" dirty="0">
                <a:solidFill>
                  <a:schemeClr val="tx2">
                    <a:lumMod val="50000"/>
                  </a:schemeClr>
                </a:solidFill>
              </a:rPr>
              <a:t>Live Discussion</a:t>
            </a:r>
          </a:p>
        </p:txBody>
      </p:sp>
      <p:cxnSp>
        <p:nvCxnSpPr>
          <p:cNvPr id="64" name="Straight Connector 63">
            <a:extLst>
              <a:ext uri="{FF2B5EF4-FFF2-40B4-BE49-F238E27FC236}">
                <a16:creationId xmlns:a16="http://schemas.microsoft.com/office/drawing/2014/main" id="{CE39127E-E624-4916-A5E8-DC6453C5061E}"/>
              </a:ext>
            </a:extLst>
          </p:cNvPr>
          <p:cNvCxnSpPr/>
          <p:nvPr/>
        </p:nvCxnSpPr>
        <p:spPr>
          <a:xfrm>
            <a:off x="10406742" y="203198"/>
            <a:ext cx="1429667" cy="0"/>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B35F01E0-D8C0-4C9E-985F-7A06F857B260}"/>
              </a:ext>
            </a:extLst>
          </p:cNvPr>
          <p:cNvCxnSpPr/>
          <p:nvPr/>
        </p:nvCxnSpPr>
        <p:spPr>
          <a:xfrm>
            <a:off x="10428516" y="500738"/>
            <a:ext cx="1429667" cy="0"/>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1132783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392CCAE-018B-4DE7-8E28-D9E2E3737B33}"/>
              </a:ext>
            </a:extLst>
          </p:cNvPr>
          <p:cNvSpPr>
            <a:spLocks noGrp="1"/>
          </p:cNvSpPr>
          <p:nvPr>
            <p:ph type="title"/>
          </p:nvPr>
        </p:nvSpPr>
        <p:spPr/>
        <p:txBody>
          <a:bodyPr/>
          <a:lstStyle/>
          <a:p>
            <a:r>
              <a:rPr lang="en-US" dirty="0"/>
              <a:t>Agenda – Billing Operations &amp; AMO Discovery </a:t>
            </a:r>
          </a:p>
        </p:txBody>
      </p:sp>
      <p:sp>
        <p:nvSpPr>
          <p:cNvPr id="7" name="Content Placeholder 6">
            <a:extLst>
              <a:ext uri="{FF2B5EF4-FFF2-40B4-BE49-F238E27FC236}">
                <a16:creationId xmlns:a16="http://schemas.microsoft.com/office/drawing/2014/main" id="{9B24215A-7C31-4D29-BF23-227D404A540B}"/>
              </a:ext>
            </a:extLst>
          </p:cNvPr>
          <p:cNvSpPr>
            <a:spLocks noGrp="1"/>
          </p:cNvSpPr>
          <p:nvPr>
            <p:ph idx="1"/>
          </p:nvPr>
        </p:nvSpPr>
        <p:spPr>
          <a:xfrm>
            <a:off x="398022" y="1218994"/>
            <a:ext cx="8179922" cy="4643751"/>
          </a:xfrm>
        </p:spPr>
        <p:txBody>
          <a:bodyPr/>
          <a:lstStyle/>
          <a:p>
            <a:r>
              <a:rPr lang="en-US" sz="1800" b="1" dirty="0">
                <a:latin typeface="+mn-lt"/>
                <a:cs typeface="Arial" panose="020B0604020202020204" pitchFamily="34" charset="0"/>
              </a:rPr>
              <a:t>Introduction &amp; Objectives – </a:t>
            </a:r>
            <a:r>
              <a:rPr lang="en-US" sz="1800" dirty="0">
                <a:latin typeface="+mn-lt"/>
                <a:cs typeface="Arial" panose="020B0604020202020204" pitchFamily="34" charset="0"/>
              </a:rPr>
              <a:t>engagement purpose (as-is &amp; to-be data capability assessment, data roadmap and investment sizing)</a:t>
            </a:r>
          </a:p>
          <a:p>
            <a:endParaRPr lang="en-US" sz="1800" b="1" dirty="0">
              <a:latin typeface="+mn-lt"/>
              <a:cs typeface="Arial" panose="020B0604020202020204" pitchFamily="34" charset="0"/>
            </a:endParaRPr>
          </a:p>
          <a:p>
            <a:r>
              <a:rPr lang="en-US" sz="1800" b="1" dirty="0">
                <a:latin typeface="+mn-lt"/>
                <a:cs typeface="Arial" panose="020B0604020202020204" pitchFamily="34" charset="0"/>
              </a:rPr>
              <a:t>Confirm Billing Ops &amp; AMO Scope &amp; Capabilities </a:t>
            </a:r>
            <a:r>
              <a:rPr lang="en-US" sz="1800" dirty="0">
                <a:latin typeface="+mn-lt"/>
                <a:cs typeface="Arial" panose="020B0604020202020204" pitchFamily="34" charset="0"/>
              </a:rPr>
              <a:t>– process-centric summarization &amp; platform leverage</a:t>
            </a:r>
          </a:p>
          <a:p>
            <a:endParaRPr lang="en-US" sz="1800" dirty="0">
              <a:latin typeface="+mn-lt"/>
              <a:cs typeface="Arial" panose="020B0604020202020204" pitchFamily="34" charset="0"/>
            </a:endParaRPr>
          </a:p>
          <a:p>
            <a:r>
              <a:rPr lang="en-US" sz="1800" b="1" dirty="0">
                <a:latin typeface="+mn-lt"/>
                <a:cs typeface="Arial" panose="020B0604020202020204" pitchFamily="34" charset="0"/>
              </a:rPr>
              <a:t>End-To-End Data Flows</a:t>
            </a:r>
            <a:r>
              <a:rPr lang="en-US" sz="1800" dirty="0">
                <a:latin typeface="+mn-lt"/>
                <a:cs typeface="Arial" panose="020B0604020202020204" pitchFamily="34" charset="0"/>
              </a:rPr>
              <a:t> – provide high-level input into upstream, real-time and downstream as-is data domains and pain points</a:t>
            </a:r>
          </a:p>
          <a:p>
            <a:endParaRPr lang="en-US" sz="1800" dirty="0">
              <a:latin typeface="+mn-lt"/>
              <a:cs typeface="Arial" panose="020B0604020202020204" pitchFamily="34" charset="0"/>
            </a:endParaRPr>
          </a:p>
          <a:p>
            <a:r>
              <a:rPr lang="en-US" sz="1800" b="1" dirty="0">
                <a:cs typeface="Arial" panose="020B0604020202020204" pitchFamily="34" charset="0"/>
              </a:rPr>
              <a:t>Discuss Future-State Customer “Golden Record” Perspectives </a:t>
            </a:r>
            <a:r>
              <a:rPr lang="en-US" sz="1800" dirty="0">
                <a:cs typeface="Arial" panose="020B0604020202020204" pitchFamily="34" charset="0"/>
              </a:rPr>
              <a:t>– drivers of future customer data model from Billing Operations &amp; AMO vantage</a:t>
            </a:r>
          </a:p>
          <a:p>
            <a:endParaRPr lang="en-US" sz="1800" dirty="0">
              <a:latin typeface="+mn-lt"/>
              <a:cs typeface="Arial" panose="020B0604020202020204" pitchFamily="34" charset="0"/>
            </a:endParaRPr>
          </a:p>
        </p:txBody>
      </p:sp>
      <p:sp>
        <p:nvSpPr>
          <p:cNvPr id="8" name="Content Placeholder 6">
            <a:extLst>
              <a:ext uri="{FF2B5EF4-FFF2-40B4-BE49-F238E27FC236}">
                <a16:creationId xmlns:a16="http://schemas.microsoft.com/office/drawing/2014/main" id="{AF218F17-167E-44D4-A567-756B64FCA5FB}"/>
              </a:ext>
            </a:extLst>
          </p:cNvPr>
          <p:cNvSpPr txBox="1">
            <a:spLocks/>
          </p:cNvSpPr>
          <p:nvPr/>
        </p:nvSpPr>
        <p:spPr>
          <a:xfrm>
            <a:off x="9346084" y="1211738"/>
            <a:ext cx="2308887" cy="4643751"/>
          </a:xfrm>
          <a:prstGeom prst="rect">
            <a:avLst/>
          </a:prstGeom>
        </p:spPr>
        <p:txBody>
          <a:bodyPr vert="horz" lIns="92038" tIns="61358" rIns="61358" bIns="61358" rtlCol="0">
            <a:noAutofit/>
          </a:bodyPr>
          <a:lstStyle>
            <a:lvl1pPr marL="302676" indent="-302676" algn="l" defTabSz="1038910" rtl="0" eaLnBrk="1" latinLnBrk="0" hangingPunct="1">
              <a:lnSpc>
                <a:spcPct val="90000"/>
              </a:lnSpc>
              <a:spcBef>
                <a:spcPts val="0"/>
              </a:spcBef>
              <a:spcAft>
                <a:spcPts val="681"/>
              </a:spcAft>
              <a:buClr>
                <a:schemeClr val="accent2"/>
              </a:buClr>
              <a:buFont typeface="Wingdings" pitchFamily="2" charset="2"/>
              <a:buChar char="§"/>
              <a:defRPr sz="2000" b="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33387" indent="-205312" algn="l" defTabSz="1038910" rtl="0" eaLnBrk="1" latinLnBrk="0" hangingPunct="1">
              <a:lnSpc>
                <a:spcPct val="90000"/>
              </a:lnSpc>
              <a:spcBef>
                <a:spcPts val="0"/>
              </a:spcBef>
              <a:spcAft>
                <a:spcPts val="681"/>
              </a:spcAft>
              <a:buClr>
                <a:schemeClr val="accent2"/>
              </a:buClr>
              <a:buFont typeface="Arial" panose="020B0604020202020204" pitchFamily="34" charset="0"/>
              <a:buChar char="̶"/>
              <a:defRPr sz="16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761981" indent="-186262" algn="l" defTabSz="1038910" rtl="0" eaLnBrk="1" latinLnBrk="0" hangingPunct="1">
              <a:lnSpc>
                <a:spcPct val="90000"/>
              </a:lnSpc>
              <a:spcBef>
                <a:spcPts val="0"/>
              </a:spcBef>
              <a:spcAft>
                <a:spcPts val="681"/>
              </a:spcAft>
              <a:buClr>
                <a:schemeClr val="accent2"/>
              </a:buClr>
              <a:buFont typeface="Arial" pitchFamily="34" charset="0"/>
              <a:buChar char="•"/>
              <a:defRPr sz="14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990575" indent="-186262" algn="l" defTabSz="1038910" rtl="0" eaLnBrk="1" latinLnBrk="0" hangingPunct="1">
              <a:lnSpc>
                <a:spcPct val="90000"/>
              </a:lnSpc>
              <a:spcBef>
                <a:spcPts val="0"/>
              </a:spcBef>
              <a:spcAft>
                <a:spcPts val="681"/>
              </a:spcAft>
              <a:buClr>
                <a:schemeClr val="accent2"/>
              </a:buClr>
              <a:buFont typeface="Courier New" panose="02070309020205020404" pitchFamily="49" charset="0"/>
              <a:buChar char="o"/>
              <a:defRPr sz="14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917" indent="-220048" algn="l" defTabSz="1038910" rtl="0" eaLnBrk="1" latinLnBrk="0" hangingPunct="1">
              <a:spcBef>
                <a:spcPts val="0"/>
              </a:spcBef>
              <a:buClr>
                <a:srgbClr val="B1B1B1"/>
              </a:buClr>
              <a:buFont typeface="Arial" pitchFamily="34" charset="0"/>
              <a:buNone/>
              <a:defRPr sz="1867" kern="1200">
                <a:solidFill>
                  <a:srgbClr val="494949"/>
                </a:solidFill>
                <a:latin typeface="+mn-lt"/>
                <a:ea typeface="+mn-ea"/>
                <a:cs typeface="+mn-cs"/>
              </a:defRPr>
            </a:lvl5pPr>
            <a:lvl6pPr marL="2857005"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60"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15"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370"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r>
              <a:rPr lang="en-US" sz="1800" b="1" dirty="0">
                <a:latin typeface="+mn-lt"/>
                <a:cs typeface="Arial" panose="020B0604020202020204" pitchFamily="34" charset="0"/>
              </a:rPr>
              <a:t>5 mins</a:t>
            </a:r>
          </a:p>
          <a:p>
            <a:endParaRPr lang="en-US" sz="1400" b="1" dirty="0">
              <a:latin typeface="+mn-lt"/>
              <a:cs typeface="Arial" panose="020B0604020202020204" pitchFamily="34" charset="0"/>
            </a:endParaRPr>
          </a:p>
          <a:p>
            <a:endParaRPr lang="en-US" sz="1400" b="1" dirty="0">
              <a:latin typeface="+mn-lt"/>
              <a:cs typeface="Arial" panose="020B0604020202020204" pitchFamily="34" charset="0"/>
            </a:endParaRPr>
          </a:p>
          <a:p>
            <a:r>
              <a:rPr lang="en-US" sz="1800" b="1" dirty="0">
                <a:latin typeface="+mn-lt"/>
                <a:cs typeface="Arial" panose="020B0604020202020204" pitchFamily="34" charset="0"/>
              </a:rPr>
              <a:t>15 mins</a:t>
            </a:r>
          </a:p>
          <a:p>
            <a:pPr marL="0" indent="0">
              <a:buNone/>
            </a:pPr>
            <a:endParaRPr lang="en-US" sz="1800" b="1" dirty="0">
              <a:latin typeface="+mn-lt"/>
              <a:cs typeface="Arial" panose="020B0604020202020204" pitchFamily="34" charset="0"/>
            </a:endParaRPr>
          </a:p>
          <a:p>
            <a:pPr marL="0" indent="0">
              <a:buNone/>
            </a:pPr>
            <a:endParaRPr lang="en-US" sz="1800" b="1" dirty="0">
              <a:latin typeface="+mn-lt"/>
              <a:cs typeface="Arial" panose="020B0604020202020204" pitchFamily="34" charset="0"/>
            </a:endParaRPr>
          </a:p>
          <a:p>
            <a:r>
              <a:rPr lang="en-US" sz="1800" b="1" dirty="0">
                <a:latin typeface="+mn-lt"/>
                <a:cs typeface="Arial" panose="020B0604020202020204" pitchFamily="34" charset="0"/>
              </a:rPr>
              <a:t>20 mins</a:t>
            </a:r>
          </a:p>
          <a:p>
            <a:endParaRPr lang="en-US" sz="1800" b="1" dirty="0">
              <a:latin typeface="+mn-lt"/>
              <a:cs typeface="Arial" panose="020B0604020202020204" pitchFamily="34" charset="0"/>
            </a:endParaRPr>
          </a:p>
          <a:p>
            <a:endParaRPr lang="en-US" sz="1800" b="1" dirty="0">
              <a:latin typeface="+mn-lt"/>
              <a:cs typeface="Arial" panose="020B0604020202020204" pitchFamily="34" charset="0"/>
            </a:endParaRPr>
          </a:p>
          <a:p>
            <a:r>
              <a:rPr lang="en-US" sz="1800" b="1" dirty="0">
                <a:latin typeface="+mn-lt"/>
                <a:cs typeface="Arial" panose="020B0604020202020204" pitchFamily="34" charset="0"/>
              </a:rPr>
              <a:t>20 mins</a:t>
            </a:r>
          </a:p>
          <a:p>
            <a:endParaRPr lang="en-US" sz="1800" b="1" dirty="0">
              <a:latin typeface="+mn-lt"/>
              <a:cs typeface="Arial" panose="020B0604020202020204" pitchFamily="34" charset="0"/>
            </a:endParaRPr>
          </a:p>
        </p:txBody>
      </p:sp>
    </p:spTree>
    <p:extLst>
      <p:ext uri="{BB962C8B-B14F-4D97-AF65-F5344CB8AC3E}">
        <p14:creationId xmlns:p14="http://schemas.microsoft.com/office/powerpoint/2010/main" val="4695275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5E52A76-CEEE-4A17-A113-4A3DC36D10E0}"/>
              </a:ext>
            </a:extLst>
          </p:cNvPr>
          <p:cNvSpPr>
            <a:spLocks noGrp="1"/>
          </p:cNvSpPr>
          <p:nvPr>
            <p:ph type="title"/>
          </p:nvPr>
        </p:nvSpPr>
        <p:spPr/>
        <p:txBody>
          <a:bodyPr/>
          <a:lstStyle/>
          <a:p>
            <a:r>
              <a:rPr lang="en-US" dirty="0"/>
              <a:t>Billing Operations &amp; AMO – Journey Segments</a:t>
            </a:r>
          </a:p>
        </p:txBody>
      </p:sp>
      <p:pic>
        <p:nvPicPr>
          <p:cNvPr id="3" name="Picture 2" descr="A close up of a logo&#10;&#10;Description automatically generated">
            <a:extLst>
              <a:ext uri="{FF2B5EF4-FFF2-40B4-BE49-F238E27FC236}">
                <a16:creationId xmlns:a16="http://schemas.microsoft.com/office/drawing/2014/main" id="{028900F2-B558-440D-A279-B5D360242D15}"/>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49077" t="40611" r="7091" b="57"/>
          <a:stretch/>
        </p:blipFill>
        <p:spPr>
          <a:xfrm>
            <a:off x="649134" y="1465446"/>
            <a:ext cx="3838628" cy="4911474"/>
          </a:xfrm>
          <a:prstGeom prst="rect">
            <a:avLst/>
          </a:prstGeom>
        </p:spPr>
      </p:pic>
      <p:sp>
        <p:nvSpPr>
          <p:cNvPr id="2" name="Oval 1">
            <a:extLst>
              <a:ext uri="{FF2B5EF4-FFF2-40B4-BE49-F238E27FC236}">
                <a16:creationId xmlns:a16="http://schemas.microsoft.com/office/drawing/2014/main" id="{53C4AE32-2963-470D-8FD5-B8D9D07287E9}"/>
              </a:ext>
            </a:extLst>
          </p:cNvPr>
          <p:cNvSpPr/>
          <p:nvPr/>
        </p:nvSpPr>
        <p:spPr>
          <a:xfrm>
            <a:off x="6863935" y="1122219"/>
            <a:ext cx="362858" cy="35428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1</a:t>
            </a:r>
            <a:endParaRPr lang="en-US" sz="2400" dirty="0">
              <a:solidFill>
                <a:schemeClr val="bg1"/>
              </a:solidFill>
            </a:endParaRPr>
          </a:p>
        </p:txBody>
      </p:sp>
      <p:sp>
        <p:nvSpPr>
          <p:cNvPr id="4" name="TextBox 3">
            <a:extLst>
              <a:ext uri="{FF2B5EF4-FFF2-40B4-BE49-F238E27FC236}">
                <a16:creationId xmlns:a16="http://schemas.microsoft.com/office/drawing/2014/main" id="{E1C9B0DE-9629-4C59-8BC9-ABE247724DA4}"/>
              </a:ext>
            </a:extLst>
          </p:cNvPr>
          <p:cNvSpPr txBox="1"/>
          <p:nvPr/>
        </p:nvSpPr>
        <p:spPr>
          <a:xfrm>
            <a:off x="7212278" y="1275936"/>
            <a:ext cx="1826526" cy="461665"/>
          </a:xfrm>
          <a:prstGeom prst="rect">
            <a:avLst/>
          </a:prstGeom>
          <a:noFill/>
        </p:spPr>
        <p:txBody>
          <a:bodyPr wrap="none" rtlCol="0">
            <a:spAutoFit/>
          </a:bodyPr>
          <a:lstStyle/>
          <a:p>
            <a:r>
              <a:rPr lang="en-US" sz="2400" dirty="0">
                <a:solidFill>
                  <a:schemeClr val="tx2">
                    <a:lumMod val="50000"/>
                  </a:schemeClr>
                </a:solidFill>
              </a:rPr>
              <a:t>Bill Set-Up</a:t>
            </a:r>
          </a:p>
        </p:txBody>
      </p:sp>
      <p:sp>
        <p:nvSpPr>
          <p:cNvPr id="6" name="Oval 5">
            <a:extLst>
              <a:ext uri="{FF2B5EF4-FFF2-40B4-BE49-F238E27FC236}">
                <a16:creationId xmlns:a16="http://schemas.microsoft.com/office/drawing/2014/main" id="{F74E6ACB-65D3-472F-B47A-DED6A73BD620}"/>
              </a:ext>
            </a:extLst>
          </p:cNvPr>
          <p:cNvSpPr/>
          <p:nvPr/>
        </p:nvSpPr>
        <p:spPr>
          <a:xfrm>
            <a:off x="6900223" y="2116447"/>
            <a:ext cx="362858" cy="35428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2</a:t>
            </a:r>
            <a:endParaRPr lang="en-US" sz="2400" dirty="0">
              <a:solidFill>
                <a:schemeClr val="bg1"/>
              </a:solidFill>
            </a:endParaRPr>
          </a:p>
        </p:txBody>
      </p:sp>
      <p:sp>
        <p:nvSpPr>
          <p:cNvPr id="7" name="TextBox 6">
            <a:extLst>
              <a:ext uri="{FF2B5EF4-FFF2-40B4-BE49-F238E27FC236}">
                <a16:creationId xmlns:a16="http://schemas.microsoft.com/office/drawing/2014/main" id="{B28299E6-32BB-43CD-8576-D9945DDA3BF8}"/>
              </a:ext>
            </a:extLst>
          </p:cNvPr>
          <p:cNvSpPr txBox="1"/>
          <p:nvPr/>
        </p:nvSpPr>
        <p:spPr>
          <a:xfrm>
            <a:off x="7263081" y="2060209"/>
            <a:ext cx="3853541" cy="461665"/>
          </a:xfrm>
          <a:prstGeom prst="rect">
            <a:avLst/>
          </a:prstGeom>
          <a:noFill/>
        </p:spPr>
        <p:txBody>
          <a:bodyPr wrap="square" rtlCol="0">
            <a:spAutoFit/>
          </a:bodyPr>
          <a:lstStyle/>
          <a:p>
            <a:r>
              <a:rPr lang="en-US" sz="2400" dirty="0">
                <a:solidFill>
                  <a:schemeClr val="tx2">
                    <a:lumMod val="50000"/>
                  </a:schemeClr>
                </a:solidFill>
              </a:rPr>
              <a:t>Bill Payment</a:t>
            </a:r>
          </a:p>
        </p:txBody>
      </p:sp>
      <p:sp>
        <p:nvSpPr>
          <p:cNvPr id="8" name="Oval 7">
            <a:extLst>
              <a:ext uri="{FF2B5EF4-FFF2-40B4-BE49-F238E27FC236}">
                <a16:creationId xmlns:a16="http://schemas.microsoft.com/office/drawing/2014/main" id="{16A92C22-F623-4EA5-8B58-3932326B5437}"/>
              </a:ext>
            </a:extLst>
          </p:cNvPr>
          <p:cNvSpPr/>
          <p:nvPr/>
        </p:nvSpPr>
        <p:spPr>
          <a:xfrm>
            <a:off x="6885709" y="2914734"/>
            <a:ext cx="362858" cy="35428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3</a:t>
            </a:r>
            <a:endParaRPr lang="en-US" sz="2400" dirty="0">
              <a:solidFill>
                <a:schemeClr val="bg1"/>
              </a:solidFill>
            </a:endParaRPr>
          </a:p>
        </p:txBody>
      </p:sp>
      <p:sp>
        <p:nvSpPr>
          <p:cNvPr id="9" name="TextBox 8">
            <a:extLst>
              <a:ext uri="{FF2B5EF4-FFF2-40B4-BE49-F238E27FC236}">
                <a16:creationId xmlns:a16="http://schemas.microsoft.com/office/drawing/2014/main" id="{0AD2F214-DC1E-4BC5-8AEA-CCD7A33B8B3C}"/>
              </a:ext>
            </a:extLst>
          </p:cNvPr>
          <p:cNvSpPr txBox="1"/>
          <p:nvPr/>
        </p:nvSpPr>
        <p:spPr>
          <a:xfrm>
            <a:off x="7234052" y="3068451"/>
            <a:ext cx="2380780" cy="461665"/>
          </a:xfrm>
          <a:prstGeom prst="rect">
            <a:avLst/>
          </a:prstGeom>
          <a:noFill/>
        </p:spPr>
        <p:txBody>
          <a:bodyPr wrap="none" rtlCol="0">
            <a:spAutoFit/>
          </a:bodyPr>
          <a:lstStyle/>
          <a:p>
            <a:r>
              <a:rPr lang="en-US" sz="2400" dirty="0">
                <a:solidFill>
                  <a:schemeClr val="tx2">
                    <a:lumMod val="50000"/>
                  </a:schemeClr>
                </a:solidFill>
              </a:rPr>
              <a:t>Bill Assistance</a:t>
            </a:r>
          </a:p>
        </p:txBody>
      </p:sp>
      <p:sp>
        <p:nvSpPr>
          <p:cNvPr id="10" name="Oval 9">
            <a:extLst>
              <a:ext uri="{FF2B5EF4-FFF2-40B4-BE49-F238E27FC236}">
                <a16:creationId xmlns:a16="http://schemas.microsoft.com/office/drawing/2014/main" id="{33B69739-24A4-4849-9B58-AE709CB0ADB6}"/>
              </a:ext>
            </a:extLst>
          </p:cNvPr>
          <p:cNvSpPr/>
          <p:nvPr/>
        </p:nvSpPr>
        <p:spPr>
          <a:xfrm>
            <a:off x="6854027" y="3829138"/>
            <a:ext cx="380025" cy="35428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4</a:t>
            </a:r>
            <a:endParaRPr lang="en-US" sz="2400" dirty="0">
              <a:solidFill>
                <a:schemeClr val="bg1"/>
              </a:solidFill>
            </a:endParaRPr>
          </a:p>
        </p:txBody>
      </p:sp>
      <p:sp>
        <p:nvSpPr>
          <p:cNvPr id="11" name="TextBox 10">
            <a:extLst>
              <a:ext uri="{FF2B5EF4-FFF2-40B4-BE49-F238E27FC236}">
                <a16:creationId xmlns:a16="http://schemas.microsoft.com/office/drawing/2014/main" id="{78DBE648-6DB8-4C27-B570-9276568B2D7B}"/>
              </a:ext>
            </a:extLst>
          </p:cNvPr>
          <p:cNvSpPr txBox="1"/>
          <p:nvPr/>
        </p:nvSpPr>
        <p:spPr>
          <a:xfrm>
            <a:off x="7212277" y="3982855"/>
            <a:ext cx="3052467" cy="461665"/>
          </a:xfrm>
          <a:prstGeom prst="rect">
            <a:avLst/>
          </a:prstGeom>
          <a:noFill/>
        </p:spPr>
        <p:txBody>
          <a:bodyPr wrap="square" rtlCol="0">
            <a:spAutoFit/>
          </a:bodyPr>
          <a:lstStyle/>
          <a:p>
            <a:r>
              <a:rPr lang="en-US" sz="2400" dirty="0">
                <a:solidFill>
                  <a:schemeClr val="tx2">
                    <a:lumMod val="50000"/>
                  </a:schemeClr>
                </a:solidFill>
              </a:rPr>
              <a:t>Close My Account</a:t>
            </a:r>
          </a:p>
        </p:txBody>
      </p:sp>
      <p:pic>
        <p:nvPicPr>
          <p:cNvPr id="12" name="Picture 11" descr="A close up of a logo&#10;&#10;Description automatically generated">
            <a:extLst>
              <a:ext uri="{FF2B5EF4-FFF2-40B4-BE49-F238E27FC236}">
                <a16:creationId xmlns:a16="http://schemas.microsoft.com/office/drawing/2014/main" id="{075F6C52-F19A-4ABF-9420-0A365DFF1CB0}"/>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22670" t="21195" r="52861" b="55561"/>
          <a:stretch/>
        </p:blipFill>
        <p:spPr>
          <a:xfrm>
            <a:off x="4180945" y="4603094"/>
            <a:ext cx="2183367" cy="1960574"/>
          </a:xfrm>
          <a:prstGeom prst="rect">
            <a:avLst/>
          </a:prstGeom>
        </p:spPr>
      </p:pic>
      <p:sp>
        <p:nvSpPr>
          <p:cNvPr id="13" name="Oval 12">
            <a:extLst>
              <a:ext uri="{FF2B5EF4-FFF2-40B4-BE49-F238E27FC236}">
                <a16:creationId xmlns:a16="http://schemas.microsoft.com/office/drawing/2014/main" id="{89079DB5-A01E-4399-9F00-D4B7651582B9}"/>
              </a:ext>
            </a:extLst>
          </p:cNvPr>
          <p:cNvSpPr/>
          <p:nvPr/>
        </p:nvSpPr>
        <p:spPr>
          <a:xfrm>
            <a:off x="2205590" y="1847199"/>
            <a:ext cx="362858" cy="35428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1</a:t>
            </a:r>
            <a:endParaRPr lang="en-US" sz="2400" dirty="0">
              <a:solidFill>
                <a:schemeClr val="bg1"/>
              </a:solidFill>
            </a:endParaRPr>
          </a:p>
        </p:txBody>
      </p:sp>
      <p:sp>
        <p:nvSpPr>
          <p:cNvPr id="14" name="Oval 13">
            <a:extLst>
              <a:ext uri="{FF2B5EF4-FFF2-40B4-BE49-F238E27FC236}">
                <a16:creationId xmlns:a16="http://schemas.microsoft.com/office/drawing/2014/main" id="{273A1C75-2FAA-4E9E-893C-1D544FE5C449}"/>
              </a:ext>
            </a:extLst>
          </p:cNvPr>
          <p:cNvSpPr/>
          <p:nvPr/>
        </p:nvSpPr>
        <p:spPr>
          <a:xfrm>
            <a:off x="951052" y="4086118"/>
            <a:ext cx="362858" cy="35428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2</a:t>
            </a:r>
            <a:endParaRPr lang="en-US" sz="2400" dirty="0">
              <a:solidFill>
                <a:schemeClr val="bg1"/>
              </a:solidFill>
            </a:endParaRPr>
          </a:p>
        </p:txBody>
      </p:sp>
      <p:sp>
        <p:nvSpPr>
          <p:cNvPr id="15" name="Oval 14">
            <a:extLst>
              <a:ext uri="{FF2B5EF4-FFF2-40B4-BE49-F238E27FC236}">
                <a16:creationId xmlns:a16="http://schemas.microsoft.com/office/drawing/2014/main" id="{2472BDE4-839B-48C2-B67B-58B520995216}"/>
              </a:ext>
            </a:extLst>
          </p:cNvPr>
          <p:cNvSpPr/>
          <p:nvPr/>
        </p:nvSpPr>
        <p:spPr>
          <a:xfrm>
            <a:off x="1927256" y="3744043"/>
            <a:ext cx="362858" cy="35428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3</a:t>
            </a:r>
            <a:endParaRPr lang="en-US" sz="2400" dirty="0">
              <a:solidFill>
                <a:schemeClr val="bg1"/>
              </a:solidFill>
            </a:endParaRPr>
          </a:p>
        </p:txBody>
      </p:sp>
      <p:sp>
        <p:nvSpPr>
          <p:cNvPr id="16" name="Oval 15">
            <a:extLst>
              <a:ext uri="{FF2B5EF4-FFF2-40B4-BE49-F238E27FC236}">
                <a16:creationId xmlns:a16="http://schemas.microsoft.com/office/drawing/2014/main" id="{3F6B2C6E-F5B0-49AE-BC51-6200E9718ECA}"/>
              </a:ext>
            </a:extLst>
          </p:cNvPr>
          <p:cNvSpPr/>
          <p:nvPr/>
        </p:nvSpPr>
        <p:spPr>
          <a:xfrm>
            <a:off x="4381072" y="5215414"/>
            <a:ext cx="380025" cy="35428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4</a:t>
            </a:r>
            <a:endParaRPr lang="en-US" sz="2400" dirty="0">
              <a:solidFill>
                <a:schemeClr val="bg1"/>
              </a:solidFill>
            </a:endParaRPr>
          </a:p>
        </p:txBody>
      </p:sp>
    </p:spTree>
    <p:extLst>
      <p:ext uri="{BB962C8B-B14F-4D97-AF65-F5344CB8AC3E}">
        <p14:creationId xmlns:p14="http://schemas.microsoft.com/office/powerpoint/2010/main" val="21985826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57C00BB7-1F85-4C9A-AB90-9E09BE61368B}"/>
              </a:ext>
            </a:extLst>
          </p:cNvPr>
          <p:cNvSpPr txBox="1"/>
          <p:nvPr/>
        </p:nvSpPr>
        <p:spPr>
          <a:xfrm>
            <a:off x="799265" y="1978259"/>
            <a:ext cx="4497130" cy="3323987"/>
          </a:xfrm>
          <a:prstGeom prst="rect">
            <a:avLst/>
          </a:prstGeom>
          <a:noFill/>
        </p:spPr>
        <p:txBody>
          <a:bodyPr wrap="square" rtlCol="0">
            <a:spAutoFit/>
          </a:bodyPr>
          <a:lstStyle/>
          <a:p>
            <a:pPr marL="285750" indent="-285750">
              <a:buFont typeface="Arial" panose="020B0604020202020204" pitchFamily="34" charset="0"/>
              <a:buChar char="•"/>
            </a:pPr>
            <a:r>
              <a:rPr lang="en-US" sz="1400" dirty="0">
                <a:solidFill>
                  <a:schemeClr val="tx2">
                    <a:lumMod val="50000"/>
                  </a:schemeClr>
                </a:solidFill>
              </a:rPr>
              <a:t>Sufficient CIS detail for common bill format</a:t>
            </a:r>
          </a:p>
          <a:p>
            <a:pPr marL="285750" indent="-285750">
              <a:buFont typeface="Arial" panose="020B0604020202020204" pitchFamily="34" charset="0"/>
              <a:buChar char="•"/>
            </a:pPr>
            <a:r>
              <a:rPr lang="en-US" sz="1400" dirty="0">
                <a:solidFill>
                  <a:schemeClr val="tx2">
                    <a:lumMod val="50000"/>
                  </a:schemeClr>
                </a:solidFill>
              </a:rPr>
              <a:t>Linked accounts (multi-meter, multi-residence)</a:t>
            </a:r>
          </a:p>
          <a:p>
            <a:pPr marL="285750" indent="-285750">
              <a:buFont typeface="Arial" panose="020B0604020202020204" pitchFamily="34" charset="0"/>
              <a:buChar char="•"/>
            </a:pPr>
            <a:r>
              <a:rPr lang="en-US" sz="1400" dirty="0">
                <a:solidFill>
                  <a:schemeClr val="tx2">
                    <a:lumMod val="50000"/>
                  </a:schemeClr>
                </a:solidFill>
              </a:rPr>
              <a:t>Customer selected due date</a:t>
            </a:r>
          </a:p>
          <a:p>
            <a:pPr marL="285750" indent="-285750">
              <a:buFont typeface="Arial" panose="020B0604020202020204" pitchFamily="34" charset="0"/>
              <a:buChar char="•"/>
            </a:pPr>
            <a:r>
              <a:rPr lang="en-US" sz="1400" dirty="0">
                <a:solidFill>
                  <a:schemeClr val="tx2">
                    <a:lumMod val="50000"/>
                  </a:schemeClr>
                </a:solidFill>
              </a:rPr>
              <a:t>Pre-set allocation of payments among multiple accounts</a:t>
            </a:r>
          </a:p>
          <a:p>
            <a:pPr marL="285750" indent="-285750">
              <a:buFont typeface="Arial" panose="020B0604020202020204" pitchFamily="34" charset="0"/>
              <a:buChar char="•"/>
            </a:pPr>
            <a:r>
              <a:rPr lang="en-US" sz="1400" dirty="0">
                <a:solidFill>
                  <a:schemeClr val="tx2">
                    <a:lumMod val="50000"/>
                  </a:schemeClr>
                </a:solidFill>
              </a:rPr>
              <a:t>Seamless auto-bill enrollment</a:t>
            </a:r>
          </a:p>
          <a:p>
            <a:pPr marL="285750" indent="-285750">
              <a:buFont typeface="Arial" panose="020B0604020202020204" pitchFamily="34" charset="0"/>
              <a:buChar char="•"/>
            </a:pPr>
            <a:r>
              <a:rPr lang="en-US" sz="1400" dirty="0">
                <a:solidFill>
                  <a:schemeClr val="tx2">
                    <a:lumMod val="50000"/>
                  </a:schemeClr>
                </a:solidFill>
              </a:rPr>
              <a:t>Seamless payment support/deferred payment program enrollment</a:t>
            </a:r>
          </a:p>
          <a:p>
            <a:pPr marL="285750" indent="-285750">
              <a:buFont typeface="Arial" panose="020B0604020202020204" pitchFamily="34" charset="0"/>
              <a:buChar char="•"/>
            </a:pPr>
            <a:r>
              <a:rPr lang="en-US" sz="1400" dirty="0">
                <a:solidFill>
                  <a:schemeClr val="tx2">
                    <a:lumMod val="50000"/>
                  </a:schemeClr>
                </a:solidFill>
              </a:rPr>
              <a:t>Seamless budget/balance billing enrollment</a:t>
            </a:r>
          </a:p>
          <a:p>
            <a:pPr marL="285750" indent="-285750">
              <a:buFont typeface="Arial" panose="020B0604020202020204" pitchFamily="34" charset="0"/>
              <a:buChar char="•"/>
            </a:pPr>
            <a:r>
              <a:rPr lang="en-US" sz="1400" dirty="0">
                <a:solidFill>
                  <a:schemeClr val="tx2">
                    <a:lumMod val="50000"/>
                  </a:schemeClr>
                </a:solidFill>
              </a:rPr>
              <a:t>Personalized recommendations related to billing and payment plan offerings based on qualifications</a:t>
            </a:r>
          </a:p>
          <a:p>
            <a:pPr marL="285750" indent="-285750">
              <a:buFont typeface="Arial" panose="020B0604020202020204" pitchFamily="34" charset="0"/>
              <a:buChar char="•"/>
            </a:pPr>
            <a:r>
              <a:rPr lang="en-US" sz="1400" dirty="0">
                <a:solidFill>
                  <a:schemeClr val="tx2">
                    <a:lumMod val="50000"/>
                  </a:schemeClr>
                </a:solidFill>
              </a:rPr>
              <a:t>Incentives/rewards/rebates for on-time payment</a:t>
            </a:r>
          </a:p>
        </p:txBody>
      </p:sp>
      <p:cxnSp>
        <p:nvCxnSpPr>
          <p:cNvPr id="9" name="Straight Connector 8">
            <a:extLst>
              <a:ext uri="{FF2B5EF4-FFF2-40B4-BE49-F238E27FC236}">
                <a16:creationId xmlns:a16="http://schemas.microsoft.com/office/drawing/2014/main" id="{8A26D030-8857-4169-85AA-FBC205C6CD7D}"/>
              </a:ext>
            </a:extLst>
          </p:cNvPr>
          <p:cNvCxnSpPr>
            <a:cxnSpLocks/>
          </p:cNvCxnSpPr>
          <p:nvPr/>
        </p:nvCxnSpPr>
        <p:spPr>
          <a:xfrm>
            <a:off x="799265" y="1765514"/>
            <a:ext cx="4497130" cy="0"/>
          </a:xfrm>
          <a:prstGeom prst="line">
            <a:avLst/>
          </a:prstGeom>
          <a:ln/>
        </p:spPr>
        <p:style>
          <a:lnRef idx="1">
            <a:schemeClr val="dk1"/>
          </a:lnRef>
          <a:fillRef idx="0">
            <a:schemeClr val="dk1"/>
          </a:fillRef>
          <a:effectRef idx="0">
            <a:schemeClr val="dk1"/>
          </a:effectRef>
          <a:fontRef idx="minor">
            <a:schemeClr val="tx1"/>
          </a:fontRef>
        </p:style>
      </p:cxnSp>
      <p:sp>
        <p:nvSpPr>
          <p:cNvPr id="11" name="Title 4">
            <a:extLst>
              <a:ext uri="{FF2B5EF4-FFF2-40B4-BE49-F238E27FC236}">
                <a16:creationId xmlns:a16="http://schemas.microsoft.com/office/drawing/2014/main" id="{E17C9351-960B-4219-82C1-5D687EC5597E}"/>
              </a:ext>
            </a:extLst>
          </p:cNvPr>
          <p:cNvSpPr>
            <a:spLocks noGrp="1"/>
          </p:cNvSpPr>
          <p:nvPr>
            <p:ph type="title"/>
          </p:nvPr>
        </p:nvSpPr>
        <p:spPr>
          <a:xfrm>
            <a:off x="2" y="1"/>
            <a:ext cx="12191999" cy="1062180"/>
          </a:xfrm>
        </p:spPr>
        <p:txBody>
          <a:bodyPr/>
          <a:lstStyle/>
          <a:p>
            <a:r>
              <a:rPr lang="en-US" dirty="0"/>
              <a:t>Billing Operations &amp; AMO – Targeted Outcomes (from Capabilities/Pain Points)</a:t>
            </a:r>
          </a:p>
        </p:txBody>
      </p:sp>
      <p:sp>
        <p:nvSpPr>
          <p:cNvPr id="12" name="Oval 11">
            <a:extLst>
              <a:ext uri="{FF2B5EF4-FFF2-40B4-BE49-F238E27FC236}">
                <a16:creationId xmlns:a16="http://schemas.microsoft.com/office/drawing/2014/main" id="{018AAEAE-A34B-48E9-AF18-5B8C49A3B9F5}"/>
              </a:ext>
            </a:extLst>
          </p:cNvPr>
          <p:cNvSpPr/>
          <p:nvPr/>
        </p:nvSpPr>
        <p:spPr>
          <a:xfrm>
            <a:off x="1828803" y="1145966"/>
            <a:ext cx="362858" cy="35428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1</a:t>
            </a:r>
            <a:endParaRPr lang="en-US" sz="2400" dirty="0">
              <a:solidFill>
                <a:schemeClr val="bg1"/>
              </a:solidFill>
            </a:endParaRPr>
          </a:p>
        </p:txBody>
      </p:sp>
      <p:sp>
        <p:nvSpPr>
          <p:cNvPr id="13" name="TextBox 12">
            <a:extLst>
              <a:ext uri="{FF2B5EF4-FFF2-40B4-BE49-F238E27FC236}">
                <a16:creationId xmlns:a16="http://schemas.microsoft.com/office/drawing/2014/main" id="{2C2F2B89-910A-41A8-BDD7-229B84563215}"/>
              </a:ext>
            </a:extLst>
          </p:cNvPr>
          <p:cNvSpPr txBox="1"/>
          <p:nvPr/>
        </p:nvSpPr>
        <p:spPr>
          <a:xfrm>
            <a:off x="2177146" y="1299683"/>
            <a:ext cx="1826526" cy="461665"/>
          </a:xfrm>
          <a:prstGeom prst="rect">
            <a:avLst/>
          </a:prstGeom>
          <a:noFill/>
        </p:spPr>
        <p:txBody>
          <a:bodyPr wrap="none" rtlCol="0">
            <a:spAutoFit/>
          </a:bodyPr>
          <a:lstStyle/>
          <a:p>
            <a:r>
              <a:rPr lang="en-US" sz="2400" dirty="0">
                <a:solidFill>
                  <a:schemeClr val="tx2">
                    <a:lumMod val="50000"/>
                  </a:schemeClr>
                </a:solidFill>
              </a:rPr>
              <a:t>Bill Set-Up</a:t>
            </a:r>
          </a:p>
        </p:txBody>
      </p:sp>
      <p:sp>
        <p:nvSpPr>
          <p:cNvPr id="15" name="TextBox 14">
            <a:extLst>
              <a:ext uri="{FF2B5EF4-FFF2-40B4-BE49-F238E27FC236}">
                <a16:creationId xmlns:a16="http://schemas.microsoft.com/office/drawing/2014/main" id="{AC9964CB-E426-4B96-94C8-0FF4359A7D24}"/>
              </a:ext>
            </a:extLst>
          </p:cNvPr>
          <p:cNvSpPr txBox="1"/>
          <p:nvPr/>
        </p:nvSpPr>
        <p:spPr>
          <a:xfrm>
            <a:off x="6366806" y="1976278"/>
            <a:ext cx="4497130" cy="3108543"/>
          </a:xfrm>
          <a:prstGeom prst="rect">
            <a:avLst/>
          </a:prstGeom>
          <a:noFill/>
        </p:spPr>
        <p:txBody>
          <a:bodyPr wrap="square" rtlCol="0">
            <a:spAutoFit/>
          </a:bodyPr>
          <a:lstStyle/>
          <a:p>
            <a:pPr marL="285750" indent="-285750">
              <a:buFont typeface="Arial" panose="020B0604020202020204" pitchFamily="34" charset="0"/>
              <a:buChar char="•"/>
            </a:pPr>
            <a:r>
              <a:rPr lang="en-US" sz="1400" dirty="0">
                <a:solidFill>
                  <a:schemeClr val="tx2">
                    <a:lumMod val="50000"/>
                  </a:schemeClr>
                </a:solidFill>
              </a:rPr>
              <a:t>Customer selected preferences for credit application</a:t>
            </a:r>
          </a:p>
          <a:p>
            <a:pPr marL="285750" indent="-285750">
              <a:buFont typeface="Arial" panose="020B0604020202020204" pitchFamily="34" charset="0"/>
              <a:buChar char="•"/>
            </a:pPr>
            <a:r>
              <a:rPr lang="en-US" sz="1400" dirty="0">
                <a:solidFill>
                  <a:schemeClr val="tx2">
                    <a:lumMod val="50000"/>
                  </a:schemeClr>
                </a:solidFill>
              </a:rPr>
              <a:t>Clearly articulated payment options (channels and formats) and implications of not paying</a:t>
            </a:r>
          </a:p>
          <a:p>
            <a:pPr marL="285750" indent="-285750">
              <a:buFont typeface="Arial" panose="020B0604020202020204" pitchFamily="34" charset="0"/>
              <a:buChar char="•"/>
            </a:pPr>
            <a:r>
              <a:rPr lang="en-US" sz="1400" dirty="0">
                <a:solidFill>
                  <a:schemeClr val="tx2">
                    <a:lumMod val="50000"/>
                  </a:schemeClr>
                </a:solidFill>
              </a:rPr>
              <a:t>Automated payment posting and confirmations (to avoid lost payments)</a:t>
            </a:r>
            <a:br>
              <a:rPr lang="en-US" sz="1400" dirty="0">
                <a:solidFill>
                  <a:schemeClr val="tx2">
                    <a:lumMod val="50000"/>
                  </a:schemeClr>
                </a:solidFill>
              </a:rPr>
            </a:br>
            <a:r>
              <a:rPr lang="en-US" sz="1400" dirty="0">
                <a:solidFill>
                  <a:schemeClr val="tx2">
                    <a:lumMod val="50000"/>
                  </a:schemeClr>
                </a:solidFill>
              </a:rPr>
              <a:t>Allocated payments notification for multiple account application</a:t>
            </a:r>
          </a:p>
          <a:p>
            <a:pPr marL="285750" indent="-285750">
              <a:buFont typeface="Arial" panose="020B0604020202020204" pitchFamily="34" charset="0"/>
              <a:buChar char="•"/>
            </a:pPr>
            <a:r>
              <a:rPr lang="en-US" sz="1400" dirty="0">
                <a:solidFill>
                  <a:schemeClr val="tx2">
                    <a:lumMod val="50000"/>
                  </a:schemeClr>
                </a:solidFill>
              </a:rPr>
              <a:t>Preference center and omni-channel confirmations of payment received</a:t>
            </a:r>
          </a:p>
          <a:p>
            <a:pPr marL="285750" indent="-285750">
              <a:buFont typeface="Arial" panose="020B0604020202020204" pitchFamily="34" charset="0"/>
              <a:buChar char="•"/>
            </a:pPr>
            <a:r>
              <a:rPr lang="en-US" sz="1400" dirty="0">
                <a:solidFill>
                  <a:schemeClr val="tx2">
                    <a:lumMod val="50000"/>
                  </a:schemeClr>
                </a:solidFill>
              </a:rPr>
              <a:t>Roaming EV rate data  </a:t>
            </a:r>
          </a:p>
          <a:p>
            <a:pPr marL="285750" indent="-285750">
              <a:buFont typeface="Arial" panose="020B0604020202020204" pitchFamily="34" charset="0"/>
              <a:buChar char="•"/>
            </a:pPr>
            <a:r>
              <a:rPr lang="en-US" sz="1400" dirty="0">
                <a:solidFill>
                  <a:schemeClr val="tx2">
                    <a:lumMod val="50000"/>
                  </a:schemeClr>
                </a:solidFill>
              </a:rPr>
              <a:t>Customer ability to set-up and forecast energy budgets to proactively manage bills</a:t>
            </a:r>
          </a:p>
        </p:txBody>
      </p:sp>
      <p:cxnSp>
        <p:nvCxnSpPr>
          <p:cNvPr id="16" name="Straight Connector 15">
            <a:extLst>
              <a:ext uri="{FF2B5EF4-FFF2-40B4-BE49-F238E27FC236}">
                <a16:creationId xmlns:a16="http://schemas.microsoft.com/office/drawing/2014/main" id="{20FC87E6-7910-4BCE-8F73-E3325F031479}"/>
              </a:ext>
            </a:extLst>
          </p:cNvPr>
          <p:cNvCxnSpPr>
            <a:cxnSpLocks/>
          </p:cNvCxnSpPr>
          <p:nvPr/>
        </p:nvCxnSpPr>
        <p:spPr>
          <a:xfrm>
            <a:off x="6366806" y="1763533"/>
            <a:ext cx="4497130" cy="0"/>
          </a:xfrm>
          <a:prstGeom prst="line">
            <a:avLst/>
          </a:prstGeom>
          <a:ln/>
        </p:spPr>
        <p:style>
          <a:lnRef idx="1">
            <a:schemeClr val="dk1"/>
          </a:lnRef>
          <a:fillRef idx="0">
            <a:schemeClr val="dk1"/>
          </a:fillRef>
          <a:effectRef idx="0">
            <a:schemeClr val="dk1"/>
          </a:effectRef>
          <a:fontRef idx="minor">
            <a:schemeClr val="tx1"/>
          </a:fontRef>
        </p:style>
      </p:cxnSp>
      <p:sp>
        <p:nvSpPr>
          <p:cNvPr id="17" name="Oval 16">
            <a:extLst>
              <a:ext uri="{FF2B5EF4-FFF2-40B4-BE49-F238E27FC236}">
                <a16:creationId xmlns:a16="http://schemas.microsoft.com/office/drawing/2014/main" id="{E64E8C93-41A2-4678-BF8A-B472E0CCE974}"/>
              </a:ext>
            </a:extLst>
          </p:cNvPr>
          <p:cNvSpPr/>
          <p:nvPr/>
        </p:nvSpPr>
        <p:spPr>
          <a:xfrm>
            <a:off x="7396344" y="1143985"/>
            <a:ext cx="362858" cy="35428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2</a:t>
            </a:r>
            <a:endParaRPr lang="en-US" sz="2400" dirty="0">
              <a:solidFill>
                <a:schemeClr val="bg1"/>
              </a:solidFill>
            </a:endParaRPr>
          </a:p>
        </p:txBody>
      </p:sp>
      <p:sp>
        <p:nvSpPr>
          <p:cNvPr id="18" name="TextBox 17">
            <a:extLst>
              <a:ext uri="{FF2B5EF4-FFF2-40B4-BE49-F238E27FC236}">
                <a16:creationId xmlns:a16="http://schemas.microsoft.com/office/drawing/2014/main" id="{65EB9D24-8F16-4CE5-B557-470130F429B8}"/>
              </a:ext>
            </a:extLst>
          </p:cNvPr>
          <p:cNvSpPr txBox="1"/>
          <p:nvPr/>
        </p:nvSpPr>
        <p:spPr>
          <a:xfrm>
            <a:off x="7744687" y="1297702"/>
            <a:ext cx="1303242" cy="461665"/>
          </a:xfrm>
          <a:prstGeom prst="rect">
            <a:avLst/>
          </a:prstGeom>
          <a:noFill/>
        </p:spPr>
        <p:txBody>
          <a:bodyPr wrap="none" rtlCol="0">
            <a:spAutoFit/>
          </a:bodyPr>
          <a:lstStyle/>
          <a:p>
            <a:r>
              <a:rPr lang="en-US" sz="2400" dirty="0">
                <a:solidFill>
                  <a:schemeClr val="tx2">
                    <a:lumMod val="50000"/>
                  </a:schemeClr>
                </a:solidFill>
              </a:rPr>
              <a:t>Bill Pay</a:t>
            </a:r>
          </a:p>
        </p:txBody>
      </p:sp>
    </p:spTree>
    <p:extLst>
      <p:ext uri="{BB962C8B-B14F-4D97-AF65-F5344CB8AC3E}">
        <p14:creationId xmlns:p14="http://schemas.microsoft.com/office/powerpoint/2010/main" val="14772543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57C00BB7-1F85-4C9A-AB90-9E09BE61368B}"/>
              </a:ext>
            </a:extLst>
          </p:cNvPr>
          <p:cNvSpPr txBox="1"/>
          <p:nvPr/>
        </p:nvSpPr>
        <p:spPr>
          <a:xfrm>
            <a:off x="799265" y="1978259"/>
            <a:ext cx="4497130" cy="1815882"/>
          </a:xfrm>
          <a:prstGeom prst="rect">
            <a:avLst/>
          </a:prstGeom>
          <a:noFill/>
        </p:spPr>
        <p:txBody>
          <a:bodyPr wrap="square" rtlCol="0">
            <a:spAutoFit/>
          </a:bodyPr>
          <a:lstStyle/>
          <a:p>
            <a:pPr marL="285750" indent="-285750">
              <a:buFont typeface="Arial" panose="020B0604020202020204" pitchFamily="34" charset="0"/>
              <a:buChar char="•"/>
            </a:pPr>
            <a:r>
              <a:rPr lang="en-US" sz="1400" dirty="0">
                <a:solidFill>
                  <a:schemeClr val="tx2">
                    <a:lumMod val="50000"/>
                  </a:schemeClr>
                </a:solidFill>
              </a:rPr>
              <a:t>Predicted energy costs during month</a:t>
            </a:r>
          </a:p>
          <a:p>
            <a:pPr marL="285750" indent="-285750">
              <a:buFont typeface="Arial" panose="020B0604020202020204" pitchFamily="34" charset="0"/>
              <a:buChar char="•"/>
            </a:pPr>
            <a:r>
              <a:rPr lang="en-US" sz="1400" dirty="0">
                <a:solidFill>
                  <a:schemeClr val="tx2">
                    <a:lumMod val="50000"/>
                  </a:schemeClr>
                </a:solidFill>
              </a:rPr>
              <a:t>Billing questions answered on preferred channel</a:t>
            </a:r>
          </a:p>
          <a:p>
            <a:pPr marL="285750" indent="-285750">
              <a:buFont typeface="Arial" panose="020B0604020202020204" pitchFamily="34" charset="0"/>
              <a:buChar char="•"/>
            </a:pPr>
            <a:r>
              <a:rPr lang="en-US" sz="1400" dirty="0">
                <a:solidFill>
                  <a:schemeClr val="tx2">
                    <a:lumMod val="50000"/>
                  </a:schemeClr>
                </a:solidFill>
              </a:rPr>
              <a:t>Bill issues resolved quickly</a:t>
            </a:r>
          </a:p>
          <a:p>
            <a:pPr marL="285750" indent="-285750">
              <a:buFont typeface="Arial" panose="020B0604020202020204" pitchFamily="34" charset="0"/>
              <a:buChar char="•"/>
            </a:pPr>
            <a:r>
              <a:rPr lang="en-US" sz="1400" dirty="0">
                <a:solidFill>
                  <a:schemeClr val="tx2">
                    <a:lumMod val="50000"/>
                  </a:schemeClr>
                </a:solidFill>
              </a:rPr>
              <a:t>Payment play/payment decision support</a:t>
            </a:r>
          </a:p>
          <a:p>
            <a:pPr marL="285750" indent="-285750">
              <a:buFont typeface="Arial" panose="020B0604020202020204" pitchFamily="34" charset="0"/>
              <a:buChar char="•"/>
            </a:pPr>
            <a:r>
              <a:rPr lang="en-US" sz="1400" dirty="0">
                <a:solidFill>
                  <a:schemeClr val="tx2">
                    <a:lumMod val="50000"/>
                  </a:schemeClr>
                </a:solidFill>
              </a:rPr>
              <a:t>Bill calculations and bill explanations</a:t>
            </a:r>
          </a:p>
          <a:p>
            <a:pPr marL="285750" indent="-285750">
              <a:buFont typeface="Arial" panose="020B0604020202020204" pitchFamily="34" charset="0"/>
              <a:buChar char="•"/>
            </a:pPr>
            <a:r>
              <a:rPr lang="en-US" sz="1400" dirty="0">
                <a:solidFill>
                  <a:schemeClr val="tx2">
                    <a:lumMod val="50000"/>
                  </a:schemeClr>
                </a:solidFill>
              </a:rPr>
              <a:t>Self-service bill diagnostics</a:t>
            </a:r>
          </a:p>
          <a:p>
            <a:pPr marL="285750" indent="-285750">
              <a:buFont typeface="Arial" panose="020B0604020202020204" pitchFamily="34" charset="0"/>
              <a:buChar char="•"/>
            </a:pPr>
            <a:endParaRPr lang="en-US" sz="1400" dirty="0">
              <a:solidFill>
                <a:schemeClr val="tx2">
                  <a:lumMod val="50000"/>
                </a:schemeClr>
              </a:solidFill>
            </a:endParaRPr>
          </a:p>
        </p:txBody>
      </p:sp>
      <p:cxnSp>
        <p:nvCxnSpPr>
          <p:cNvPr id="9" name="Straight Connector 8">
            <a:extLst>
              <a:ext uri="{FF2B5EF4-FFF2-40B4-BE49-F238E27FC236}">
                <a16:creationId xmlns:a16="http://schemas.microsoft.com/office/drawing/2014/main" id="{8A26D030-8857-4169-85AA-FBC205C6CD7D}"/>
              </a:ext>
            </a:extLst>
          </p:cNvPr>
          <p:cNvCxnSpPr>
            <a:cxnSpLocks/>
          </p:cNvCxnSpPr>
          <p:nvPr/>
        </p:nvCxnSpPr>
        <p:spPr>
          <a:xfrm>
            <a:off x="799265" y="1765514"/>
            <a:ext cx="4497130" cy="0"/>
          </a:xfrm>
          <a:prstGeom prst="line">
            <a:avLst/>
          </a:prstGeom>
          <a:ln/>
        </p:spPr>
        <p:style>
          <a:lnRef idx="1">
            <a:schemeClr val="dk1"/>
          </a:lnRef>
          <a:fillRef idx="0">
            <a:schemeClr val="dk1"/>
          </a:fillRef>
          <a:effectRef idx="0">
            <a:schemeClr val="dk1"/>
          </a:effectRef>
          <a:fontRef idx="minor">
            <a:schemeClr val="tx1"/>
          </a:fontRef>
        </p:style>
      </p:cxnSp>
      <p:sp>
        <p:nvSpPr>
          <p:cNvPr id="11" name="Title 4">
            <a:extLst>
              <a:ext uri="{FF2B5EF4-FFF2-40B4-BE49-F238E27FC236}">
                <a16:creationId xmlns:a16="http://schemas.microsoft.com/office/drawing/2014/main" id="{E17C9351-960B-4219-82C1-5D687EC5597E}"/>
              </a:ext>
            </a:extLst>
          </p:cNvPr>
          <p:cNvSpPr>
            <a:spLocks noGrp="1"/>
          </p:cNvSpPr>
          <p:nvPr>
            <p:ph type="title"/>
          </p:nvPr>
        </p:nvSpPr>
        <p:spPr>
          <a:xfrm>
            <a:off x="2" y="1"/>
            <a:ext cx="12191999" cy="1062180"/>
          </a:xfrm>
        </p:spPr>
        <p:txBody>
          <a:bodyPr/>
          <a:lstStyle/>
          <a:p>
            <a:r>
              <a:rPr lang="en-US" dirty="0"/>
              <a:t>Billing Operations &amp; AMO – Targeted Outcomes (from Capabilities/Pain Points)</a:t>
            </a:r>
          </a:p>
        </p:txBody>
      </p:sp>
      <p:sp>
        <p:nvSpPr>
          <p:cNvPr id="12" name="Oval 11">
            <a:extLst>
              <a:ext uri="{FF2B5EF4-FFF2-40B4-BE49-F238E27FC236}">
                <a16:creationId xmlns:a16="http://schemas.microsoft.com/office/drawing/2014/main" id="{018AAEAE-A34B-48E9-AF18-5B8C49A3B9F5}"/>
              </a:ext>
            </a:extLst>
          </p:cNvPr>
          <p:cNvSpPr/>
          <p:nvPr/>
        </p:nvSpPr>
        <p:spPr>
          <a:xfrm>
            <a:off x="1828803" y="1145966"/>
            <a:ext cx="362858" cy="35428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3</a:t>
            </a:r>
            <a:endParaRPr lang="en-US" sz="2400" dirty="0">
              <a:solidFill>
                <a:schemeClr val="bg1"/>
              </a:solidFill>
            </a:endParaRPr>
          </a:p>
        </p:txBody>
      </p:sp>
      <p:sp>
        <p:nvSpPr>
          <p:cNvPr id="13" name="TextBox 12">
            <a:extLst>
              <a:ext uri="{FF2B5EF4-FFF2-40B4-BE49-F238E27FC236}">
                <a16:creationId xmlns:a16="http://schemas.microsoft.com/office/drawing/2014/main" id="{2C2F2B89-910A-41A8-BDD7-229B84563215}"/>
              </a:ext>
            </a:extLst>
          </p:cNvPr>
          <p:cNvSpPr txBox="1"/>
          <p:nvPr/>
        </p:nvSpPr>
        <p:spPr>
          <a:xfrm>
            <a:off x="2177146" y="1299683"/>
            <a:ext cx="2380780" cy="461665"/>
          </a:xfrm>
          <a:prstGeom prst="rect">
            <a:avLst/>
          </a:prstGeom>
          <a:noFill/>
        </p:spPr>
        <p:txBody>
          <a:bodyPr wrap="none" rtlCol="0">
            <a:spAutoFit/>
          </a:bodyPr>
          <a:lstStyle/>
          <a:p>
            <a:r>
              <a:rPr lang="en-US" sz="2400" dirty="0">
                <a:solidFill>
                  <a:schemeClr val="tx2">
                    <a:lumMod val="50000"/>
                  </a:schemeClr>
                </a:solidFill>
              </a:rPr>
              <a:t>Bill Assistance</a:t>
            </a:r>
          </a:p>
        </p:txBody>
      </p:sp>
      <p:sp>
        <p:nvSpPr>
          <p:cNvPr id="15" name="TextBox 14">
            <a:extLst>
              <a:ext uri="{FF2B5EF4-FFF2-40B4-BE49-F238E27FC236}">
                <a16:creationId xmlns:a16="http://schemas.microsoft.com/office/drawing/2014/main" id="{AC9964CB-E426-4B96-94C8-0FF4359A7D24}"/>
              </a:ext>
            </a:extLst>
          </p:cNvPr>
          <p:cNvSpPr txBox="1"/>
          <p:nvPr/>
        </p:nvSpPr>
        <p:spPr>
          <a:xfrm>
            <a:off x="6366806" y="1976278"/>
            <a:ext cx="4497130" cy="2893100"/>
          </a:xfrm>
          <a:prstGeom prst="rect">
            <a:avLst/>
          </a:prstGeom>
          <a:noFill/>
        </p:spPr>
        <p:txBody>
          <a:bodyPr wrap="square" rtlCol="0">
            <a:spAutoFit/>
          </a:bodyPr>
          <a:lstStyle/>
          <a:p>
            <a:pPr marL="285750" indent="-285750">
              <a:buFont typeface="Arial" panose="020B0604020202020204" pitchFamily="34" charset="0"/>
              <a:buChar char="•"/>
            </a:pPr>
            <a:r>
              <a:rPr lang="en-US" sz="1400" dirty="0">
                <a:solidFill>
                  <a:schemeClr val="tx2">
                    <a:lumMod val="50000"/>
                  </a:schemeClr>
                </a:solidFill>
              </a:rPr>
              <a:t>Customer receives final bill estimate on day of move out</a:t>
            </a:r>
          </a:p>
          <a:p>
            <a:pPr marL="285750" indent="-285750">
              <a:buFont typeface="Arial" panose="020B0604020202020204" pitchFamily="34" charset="0"/>
              <a:buChar char="•"/>
            </a:pPr>
            <a:r>
              <a:rPr lang="en-US" sz="1400" dirty="0">
                <a:solidFill>
                  <a:schemeClr val="tx2">
                    <a:lumMod val="50000"/>
                  </a:schemeClr>
                </a:solidFill>
              </a:rPr>
              <a:t>Customer can select date on which service will be stopped</a:t>
            </a:r>
          </a:p>
          <a:p>
            <a:pPr marL="285750" indent="-285750">
              <a:buFont typeface="Arial" panose="020B0604020202020204" pitchFamily="34" charset="0"/>
              <a:buChar char="•"/>
            </a:pPr>
            <a:r>
              <a:rPr lang="en-US" sz="1400" dirty="0">
                <a:solidFill>
                  <a:schemeClr val="tx2">
                    <a:lumMod val="50000"/>
                  </a:schemeClr>
                </a:solidFill>
              </a:rPr>
              <a:t>Customer can understand timeline for stopping service (transparency)</a:t>
            </a:r>
          </a:p>
          <a:p>
            <a:pPr marL="285750" indent="-285750">
              <a:buFont typeface="Arial" panose="020B0604020202020204" pitchFamily="34" charset="0"/>
              <a:buChar char="•"/>
            </a:pPr>
            <a:r>
              <a:rPr lang="en-US" sz="1400" dirty="0">
                <a:solidFill>
                  <a:schemeClr val="tx2">
                    <a:lumMod val="50000"/>
                  </a:schemeClr>
                </a:solidFill>
              </a:rPr>
              <a:t>Customer receives confirmation that service has been terminated</a:t>
            </a:r>
          </a:p>
          <a:p>
            <a:pPr marL="285750" indent="-285750">
              <a:buFont typeface="Arial" panose="020B0604020202020204" pitchFamily="34" charset="0"/>
              <a:buChar char="•"/>
            </a:pPr>
            <a:r>
              <a:rPr lang="en-US" sz="1400" dirty="0">
                <a:solidFill>
                  <a:schemeClr val="tx2">
                    <a:lumMod val="50000"/>
                  </a:schemeClr>
                </a:solidFill>
              </a:rPr>
              <a:t>Customer can select channel that they will receive their final bill at the time, and in the channel, that they schedule their move out</a:t>
            </a:r>
          </a:p>
          <a:p>
            <a:pPr marL="285750" indent="-285750">
              <a:buFont typeface="Arial" panose="020B0604020202020204" pitchFamily="34" charset="0"/>
              <a:buChar char="•"/>
            </a:pPr>
            <a:r>
              <a:rPr lang="en-US" sz="1400" dirty="0">
                <a:solidFill>
                  <a:schemeClr val="tx2">
                    <a:lumMod val="50000"/>
                  </a:schemeClr>
                </a:solidFill>
              </a:rPr>
              <a:t>Customer can pay their final bill and verify that account balance is zeroed</a:t>
            </a:r>
          </a:p>
        </p:txBody>
      </p:sp>
      <p:cxnSp>
        <p:nvCxnSpPr>
          <p:cNvPr id="16" name="Straight Connector 15">
            <a:extLst>
              <a:ext uri="{FF2B5EF4-FFF2-40B4-BE49-F238E27FC236}">
                <a16:creationId xmlns:a16="http://schemas.microsoft.com/office/drawing/2014/main" id="{20FC87E6-7910-4BCE-8F73-E3325F031479}"/>
              </a:ext>
            </a:extLst>
          </p:cNvPr>
          <p:cNvCxnSpPr>
            <a:cxnSpLocks/>
          </p:cNvCxnSpPr>
          <p:nvPr/>
        </p:nvCxnSpPr>
        <p:spPr>
          <a:xfrm>
            <a:off x="6366806" y="1763533"/>
            <a:ext cx="4497130" cy="0"/>
          </a:xfrm>
          <a:prstGeom prst="line">
            <a:avLst/>
          </a:prstGeom>
          <a:ln/>
        </p:spPr>
        <p:style>
          <a:lnRef idx="1">
            <a:schemeClr val="dk1"/>
          </a:lnRef>
          <a:fillRef idx="0">
            <a:schemeClr val="dk1"/>
          </a:fillRef>
          <a:effectRef idx="0">
            <a:schemeClr val="dk1"/>
          </a:effectRef>
          <a:fontRef idx="minor">
            <a:schemeClr val="tx1"/>
          </a:fontRef>
        </p:style>
      </p:cxnSp>
      <p:sp>
        <p:nvSpPr>
          <p:cNvPr id="17" name="Oval 16">
            <a:extLst>
              <a:ext uri="{FF2B5EF4-FFF2-40B4-BE49-F238E27FC236}">
                <a16:creationId xmlns:a16="http://schemas.microsoft.com/office/drawing/2014/main" id="{E64E8C93-41A2-4678-BF8A-B472E0CCE974}"/>
              </a:ext>
            </a:extLst>
          </p:cNvPr>
          <p:cNvSpPr/>
          <p:nvPr/>
        </p:nvSpPr>
        <p:spPr>
          <a:xfrm>
            <a:off x="6909456" y="1143985"/>
            <a:ext cx="362858" cy="35428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4</a:t>
            </a:r>
            <a:endParaRPr lang="en-US" sz="2400" dirty="0">
              <a:solidFill>
                <a:schemeClr val="bg1"/>
              </a:solidFill>
            </a:endParaRPr>
          </a:p>
        </p:txBody>
      </p:sp>
      <p:sp>
        <p:nvSpPr>
          <p:cNvPr id="18" name="TextBox 17">
            <a:extLst>
              <a:ext uri="{FF2B5EF4-FFF2-40B4-BE49-F238E27FC236}">
                <a16:creationId xmlns:a16="http://schemas.microsoft.com/office/drawing/2014/main" id="{65EB9D24-8F16-4CE5-B557-470130F429B8}"/>
              </a:ext>
            </a:extLst>
          </p:cNvPr>
          <p:cNvSpPr txBox="1"/>
          <p:nvPr/>
        </p:nvSpPr>
        <p:spPr>
          <a:xfrm>
            <a:off x="7257799" y="1297702"/>
            <a:ext cx="2906565" cy="461665"/>
          </a:xfrm>
          <a:prstGeom prst="rect">
            <a:avLst/>
          </a:prstGeom>
          <a:noFill/>
        </p:spPr>
        <p:txBody>
          <a:bodyPr wrap="none" rtlCol="0">
            <a:spAutoFit/>
          </a:bodyPr>
          <a:lstStyle/>
          <a:p>
            <a:r>
              <a:rPr lang="en-US" sz="2400" dirty="0">
                <a:solidFill>
                  <a:schemeClr val="tx2">
                    <a:lumMod val="50000"/>
                  </a:schemeClr>
                </a:solidFill>
              </a:rPr>
              <a:t>Close My Account</a:t>
            </a:r>
          </a:p>
        </p:txBody>
      </p:sp>
    </p:spTree>
    <p:extLst>
      <p:ext uri="{BB962C8B-B14F-4D97-AF65-F5344CB8AC3E}">
        <p14:creationId xmlns:p14="http://schemas.microsoft.com/office/powerpoint/2010/main" val="42755918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ounded Rectangle 15">
            <a:extLst>
              <a:ext uri="{FF2B5EF4-FFF2-40B4-BE49-F238E27FC236}">
                <a16:creationId xmlns:a16="http://schemas.microsoft.com/office/drawing/2014/main" id="{8B9D2F60-2FB1-4D38-BD05-F7E306D22954}"/>
              </a:ext>
            </a:extLst>
          </p:cNvPr>
          <p:cNvSpPr/>
          <p:nvPr/>
        </p:nvSpPr>
        <p:spPr>
          <a:xfrm>
            <a:off x="294640" y="1383939"/>
            <a:ext cx="11511200" cy="4989371"/>
          </a:xfrm>
          <a:prstGeom prst="roundRect">
            <a:avLst>
              <a:gd name="adj" fmla="val 1728"/>
            </a:avLst>
          </a:prstGeom>
          <a:solidFill>
            <a:srgbClr val="00AF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 name="Rounded Rectangle 16">
            <a:extLst>
              <a:ext uri="{FF2B5EF4-FFF2-40B4-BE49-F238E27FC236}">
                <a16:creationId xmlns:a16="http://schemas.microsoft.com/office/drawing/2014/main" id="{F7CED6D0-BB87-4AE3-AF99-59F85CFABC31}"/>
              </a:ext>
            </a:extLst>
          </p:cNvPr>
          <p:cNvSpPr/>
          <p:nvPr/>
        </p:nvSpPr>
        <p:spPr>
          <a:xfrm>
            <a:off x="662306" y="1434387"/>
            <a:ext cx="10974793" cy="4811111"/>
          </a:xfrm>
          <a:prstGeom prst="roundRect">
            <a:avLst>
              <a:gd name="adj" fmla="val 124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 name="Rounded Rectangle 36">
            <a:extLst>
              <a:ext uri="{FF2B5EF4-FFF2-40B4-BE49-F238E27FC236}">
                <a16:creationId xmlns:a16="http://schemas.microsoft.com/office/drawing/2014/main" id="{50691B09-8CD1-4EE2-ABCC-D86DBDE1AA77}"/>
              </a:ext>
            </a:extLst>
          </p:cNvPr>
          <p:cNvSpPr/>
          <p:nvPr/>
        </p:nvSpPr>
        <p:spPr>
          <a:xfrm>
            <a:off x="756543" y="2594127"/>
            <a:ext cx="10899177" cy="161980"/>
          </a:xfrm>
          <a:prstGeom prst="roundRect">
            <a:avLst>
              <a:gd name="adj" fmla="val 5913"/>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dirty="0">
                <a:solidFill>
                  <a:schemeClr val="tx1"/>
                </a:solidFill>
              </a:rPr>
              <a:t>Right Now</a:t>
            </a:r>
          </a:p>
        </p:txBody>
      </p:sp>
      <p:sp>
        <p:nvSpPr>
          <p:cNvPr id="7" name="Rounded Rectangle 36">
            <a:extLst>
              <a:ext uri="{FF2B5EF4-FFF2-40B4-BE49-F238E27FC236}">
                <a16:creationId xmlns:a16="http://schemas.microsoft.com/office/drawing/2014/main" id="{0B5E5739-A112-4E19-BE0B-78F16A645939}"/>
              </a:ext>
            </a:extLst>
          </p:cNvPr>
          <p:cNvSpPr/>
          <p:nvPr/>
        </p:nvSpPr>
        <p:spPr>
          <a:xfrm>
            <a:off x="754419" y="4526559"/>
            <a:ext cx="10905600" cy="161980"/>
          </a:xfrm>
          <a:prstGeom prst="roundRect">
            <a:avLst>
              <a:gd name="adj" fmla="val 5913"/>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a:solidFill>
                  <a:schemeClr val="tx1"/>
                </a:solidFill>
              </a:rPr>
              <a:t>OMS (Outage)</a:t>
            </a:r>
          </a:p>
        </p:txBody>
      </p:sp>
      <p:sp>
        <p:nvSpPr>
          <p:cNvPr id="8" name="Rounded Rectangle 36">
            <a:extLst>
              <a:ext uri="{FF2B5EF4-FFF2-40B4-BE49-F238E27FC236}">
                <a16:creationId xmlns:a16="http://schemas.microsoft.com/office/drawing/2014/main" id="{27BB76C4-5B9E-42AA-BEA5-84F2F5F9DBCB}"/>
              </a:ext>
            </a:extLst>
          </p:cNvPr>
          <p:cNvSpPr/>
          <p:nvPr/>
        </p:nvSpPr>
        <p:spPr>
          <a:xfrm>
            <a:off x="751553" y="3364683"/>
            <a:ext cx="10905600" cy="161980"/>
          </a:xfrm>
          <a:prstGeom prst="roundRect">
            <a:avLst>
              <a:gd name="adj" fmla="val 5913"/>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dirty="0">
                <a:solidFill>
                  <a:schemeClr val="tx1"/>
                </a:solidFill>
              </a:rPr>
              <a:t>CSS (Gas, Elec, DG)–UNY,MA,RI,LI)</a:t>
            </a:r>
          </a:p>
        </p:txBody>
      </p:sp>
      <p:sp>
        <p:nvSpPr>
          <p:cNvPr id="9" name="Rounded Rectangle 36">
            <a:extLst>
              <a:ext uri="{FF2B5EF4-FFF2-40B4-BE49-F238E27FC236}">
                <a16:creationId xmlns:a16="http://schemas.microsoft.com/office/drawing/2014/main" id="{3CB51873-A325-40B1-82C1-08FD7207B34D}"/>
              </a:ext>
            </a:extLst>
          </p:cNvPr>
          <p:cNvSpPr/>
          <p:nvPr/>
        </p:nvSpPr>
        <p:spPr>
          <a:xfrm>
            <a:off x="753332" y="1836845"/>
            <a:ext cx="10905600" cy="161980"/>
          </a:xfrm>
          <a:prstGeom prst="roundRect">
            <a:avLst>
              <a:gd name="adj" fmla="val 5913"/>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a:solidFill>
                  <a:schemeClr val="tx1"/>
                </a:solidFill>
              </a:rPr>
              <a:t>Application Portal (DG/Electric)</a:t>
            </a:r>
          </a:p>
        </p:txBody>
      </p:sp>
      <p:sp>
        <p:nvSpPr>
          <p:cNvPr id="10" name="Rounded Rectangle 36">
            <a:extLst>
              <a:ext uri="{FF2B5EF4-FFF2-40B4-BE49-F238E27FC236}">
                <a16:creationId xmlns:a16="http://schemas.microsoft.com/office/drawing/2014/main" id="{F1B977A3-7B0C-4385-B9FC-D7D932349C32}"/>
              </a:ext>
            </a:extLst>
          </p:cNvPr>
          <p:cNvSpPr/>
          <p:nvPr/>
        </p:nvSpPr>
        <p:spPr>
          <a:xfrm>
            <a:off x="753332" y="1639984"/>
            <a:ext cx="10905600" cy="161980"/>
          </a:xfrm>
          <a:prstGeom prst="roundRect">
            <a:avLst>
              <a:gd name="adj" fmla="val 5913"/>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a:solidFill>
                  <a:schemeClr val="tx1"/>
                </a:solidFill>
              </a:rPr>
              <a:t>CRIS Transaction Web</a:t>
            </a:r>
          </a:p>
        </p:txBody>
      </p:sp>
      <p:sp>
        <p:nvSpPr>
          <p:cNvPr id="11" name="Rounded Rectangle 36">
            <a:extLst>
              <a:ext uri="{FF2B5EF4-FFF2-40B4-BE49-F238E27FC236}">
                <a16:creationId xmlns:a16="http://schemas.microsoft.com/office/drawing/2014/main" id="{61DB5A62-95DD-4181-8CF6-54FB8DDCBC24}"/>
              </a:ext>
            </a:extLst>
          </p:cNvPr>
          <p:cNvSpPr/>
          <p:nvPr/>
        </p:nvSpPr>
        <p:spPr>
          <a:xfrm>
            <a:off x="753332" y="1447890"/>
            <a:ext cx="10905600" cy="161980"/>
          </a:xfrm>
          <a:prstGeom prst="roundRect">
            <a:avLst>
              <a:gd name="adj" fmla="val 5913"/>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dirty="0">
                <a:solidFill>
                  <a:schemeClr val="tx1"/>
                </a:solidFill>
              </a:rPr>
              <a:t>CSS Transaction Web</a:t>
            </a:r>
          </a:p>
        </p:txBody>
      </p:sp>
      <p:sp>
        <p:nvSpPr>
          <p:cNvPr id="12" name="Rounded Rectangle 36">
            <a:extLst>
              <a:ext uri="{FF2B5EF4-FFF2-40B4-BE49-F238E27FC236}">
                <a16:creationId xmlns:a16="http://schemas.microsoft.com/office/drawing/2014/main" id="{FA9CFF05-0484-4773-B72E-57C6C1D923A5}"/>
              </a:ext>
            </a:extLst>
          </p:cNvPr>
          <p:cNvSpPr/>
          <p:nvPr/>
        </p:nvSpPr>
        <p:spPr>
          <a:xfrm>
            <a:off x="753334" y="2797379"/>
            <a:ext cx="10899177" cy="161980"/>
          </a:xfrm>
          <a:prstGeom prst="roundRect">
            <a:avLst>
              <a:gd name="adj" fmla="val 5913"/>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a:solidFill>
                  <a:schemeClr val="tx1"/>
                </a:solidFill>
              </a:rPr>
              <a:t>CRM Sales (Grid Force)</a:t>
            </a:r>
          </a:p>
        </p:txBody>
      </p:sp>
      <p:sp>
        <p:nvSpPr>
          <p:cNvPr id="13" name="Rounded Rectangle 36">
            <a:extLst>
              <a:ext uri="{FF2B5EF4-FFF2-40B4-BE49-F238E27FC236}">
                <a16:creationId xmlns:a16="http://schemas.microsoft.com/office/drawing/2014/main" id="{54C2A988-6D93-4660-87F8-61811D0FB7A8}"/>
              </a:ext>
            </a:extLst>
          </p:cNvPr>
          <p:cNvSpPr/>
          <p:nvPr/>
        </p:nvSpPr>
        <p:spPr>
          <a:xfrm>
            <a:off x="738546" y="3557507"/>
            <a:ext cx="10905600" cy="161980"/>
          </a:xfrm>
          <a:prstGeom prst="roundRect">
            <a:avLst>
              <a:gd name="adj" fmla="val 5913"/>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dirty="0">
                <a:solidFill>
                  <a:schemeClr val="tx1"/>
                </a:solidFill>
              </a:rPr>
              <a:t>CRM Service (GBE-RI)</a:t>
            </a:r>
          </a:p>
        </p:txBody>
      </p:sp>
      <p:sp>
        <p:nvSpPr>
          <p:cNvPr id="14" name="Rounded Rectangle 36">
            <a:extLst>
              <a:ext uri="{FF2B5EF4-FFF2-40B4-BE49-F238E27FC236}">
                <a16:creationId xmlns:a16="http://schemas.microsoft.com/office/drawing/2014/main" id="{73A6C7B1-FAD6-4735-B15B-4C6A2ADD7AC2}"/>
              </a:ext>
            </a:extLst>
          </p:cNvPr>
          <p:cNvSpPr/>
          <p:nvPr/>
        </p:nvSpPr>
        <p:spPr>
          <a:xfrm>
            <a:off x="753332" y="3180997"/>
            <a:ext cx="10905600" cy="161980"/>
          </a:xfrm>
          <a:prstGeom prst="roundRect">
            <a:avLst>
              <a:gd name="adj" fmla="val 5913"/>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dirty="0">
                <a:solidFill>
                  <a:schemeClr val="tx1"/>
                </a:solidFill>
              </a:rPr>
              <a:t>CRIS (Gas –NYC,MA)</a:t>
            </a:r>
          </a:p>
        </p:txBody>
      </p:sp>
      <p:sp>
        <p:nvSpPr>
          <p:cNvPr id="15" name="Rounded Rectangle 12">
            <a:extLst>
              <a:ext uri="{FF2B5EF4-FFF2-40B4-BE49-F238E27FC236}">
                <a16:creationId xmlns:a16="http://schemas.microsoft.com/office/drawing/2014/main" id="{6A2B8A48-2DC6-4D0A-A0AB-ABAE706DBE03}"/>
              </a:ext>
            </a:extLst>
          </p:cNvPr>
          <p:cNvSpPr/>
          <p:nvPr/>
        </p:nvSpPr>
        <p:spPr>
          <a:xfrm>
            <a:off x="312450" y="548740"/>
            <a:ext cx="11511200" cy="619155"/>
          </a:xfrm>
          <a:prstGeom prst="roundRect">
            <a:avLst>
              <a:gd name="adj" fmla="val 5913"/>
            </a:avLst>
          </a:prstGeom>
          <a:solidFill>
            <a:srgbClr val="00AF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6" name="Rounded Rectangle 13">
            <a:extLst>
              <a:ext uri="{FF2B5EF4-FFF2-40B4-BE49-F238E27FC236}">
                <a16:creationId xmlns:a16="http://schemas.microsoft.com/office/drawing/2014/main" id="{5C1358D6-8E51-4B16-87BA-344D68A9C893}"/>
              </a:ext>
            </a:extLst>
          </p:cNvPr>
          <p:cNvSpPr/>
          <p:nvPr/>
        </p:nvSpPr>
        <p:spPr>
          <a:xfrm>
            <a:off x="724737" y="596520"/>
            <a:ext cx="11036193" cy="533694"/>
          </a:xfrm>
          <a:prstGeom prst="roundRect">
            <a:avLst>
              <a:gd name="adj" fmla="val 591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8" name="TextBox 17">
            <a:extLst>
              <a:ext uri="{FF2B5EF4-FFF2-40B4-BE49-F238E27FC236}">
                <a16:creationId xmlns:a16="http://schemas.microsoft.com/office/drawing/2014/main" id="{0C90AE2C-A81F-4DE2-8C76-59C319752E06}"/>
              </a:ext>
            </a:extLst>
          </p:cNvPr>
          <p:cNvSpPr txBox="1"/>
          <p:nvPr/>
        </p:nvSpPr>
        <p:spPr>
          <a:xfrm>
            <a:off x="4004786" y="6635839"/>
            <a:ext cx="936154" cy="138499"/>
          </a:xfrm>
          <a:prstGeom prst="rect">
            <a:avLst/>
          </a:prstGeom>
          <a:noFill/>
        </p:spPr>
        <p:txBody>
          <a:bodyPr wrap="none" lIns="0" tIns="0" rIns="0" bIns="0" rtlCol="0">
            <a:spAutoFit/>
          </a:bodyPr>
          <a:lstStyle/>
          <a:p>
            <a:pPr algn="l"/>
            <a:r>
              <a:rPr lang="en-GB" sz="900"/>
              <a:t>Manual replication</a:t>
            </a:r>
          </a:p>
        </p:txBody>
      </p:sp>
      <p:sp>
        <p:nvSpPr>
          <p:cNvPr id="19" name="TextBox 18">
            <a:extLst>
              <a:ext uri="{FF2B5EF4-FFF2-40B4-BE49-F238E27FC236}">
                <a16:creationId xmlns:a16="http://schemas.microsoft.com/office/drawing/2014/main" id="{5FCCD489-7FDC-4959-B119-FB367BDF07E5}"/>
              </a:ext>
            </a:extLst>
          </p:cNvPr>
          <p:cNvSpPr txBox="1"/>
          <p:nvPr/>
        </p:nvSpPr>
        <p:spPr>
          <a:xfrm>
            <a:off x="2442620" y="6492875"/>
            <a:ext cx="775853" cy="138499"/>
          </a:xfrm>
          <a:prstGeom prst="rect">
            <a:avLst/>
          </a:prstGeom>
          <a:noFill/>
        </p:spPr>
        <p:txBody>
          <a:bodyPr wrap="none" lIns="0" tIns="0" rIns="0" bIns="0" rtlCol="0">
            <a:spAutoFit/>
          </a:bodyPr>
          <a:lstStyle/>
          <a:p>
            <a:pPr algn="l"/>
            <a:r>
              <a:rPr lang="en-GB" sz="900"/>
              <a:t>Automated API</a:t>
            </a:r>
          </a:p>
        </p:txBody>
      </p:sp>
      <p:grpSp>
        <p:nvGrpSpPr>
          <p:cNvPr id="20" name="Group 19">
            <a:extLst>
              <a:ext uri="{FF2B5EF4-FFF2-40B4-BE49-F238E27FC236}">
                <a16:creationId xmlns:a16="http://schemas.microsoft.com/office/drawing/2014/main" id="{2A88EFA4-6EC5-4420-A977-45078BC1E076}"/>
              </a:ext>
            </a:extLst>
          </p:cNvPr>
          <p:cNvGrpSpPr/>
          <p:nvPr/>
        </p:nvGrpSpPr>
        <p:grpSpPr>
          <a:xfrm>
            <a:off x="5165963" y="6434828"/>
            <a:ext cx="4469960" cy="316983"/>
            <a:chOff x="3537208" y="4654711"/>
            <a:chExt cx="3352470" cy="237737"/>
          </a:xfrm>
        </p:grpSpPr>
        <p:pic>
          <p:nvPicPr>
            <p:cNvPr id="21" name="Picture 20" descr="A close up of a logo&#10;&#10;Description automatically generated">
              <a:extLst>
                <a:ext uri="{FF2B5EF4-FFF2-40B4-BE49-F238E27FC236}">
                  <a16:creationId xmlns:a16="http://schemas.microsoft.com/office/drawing/2014/main" id="{D9EF1DD3-2B90-40A2-855B-AFEDA420EBDC}"/>
                </a:ext>
              </a:extLst>
            </p:cNvPr>
            <p:cNvPicPr>
              <a:picLocks noChangeAspect="1"/>
            </p:cNvPicPr>
            <p:nvPr/>
          </p:nvPicPr>
          <p:blipFill>
            <a:blip r:embed="rId3"/>
            <a:stretch>
              <a:fillRect/>
            </a:stretch>
          </p:blipFill>
          <p:spPr>
            <a:xfrm>
              <a:off x="3537208" y="4654711"/>
              <a:ext cx="237737" cy="237737"/>
            </a:xfrm>
            <a:prstGeom prst="rect">
              <a:avLst/>
            </a:prstGeom>
          </p:spPr>
        </p:pic>
        <p:sp>
          <p:nvSpPr>
            <p:cNvPr id="22" name="TextBox 21">
              <a:extLst>
                <a:ext uri="{FF2B5EF4-FFF2-40B4-BE49-F238E27FC236}">
                  <a16:creationId xmlns:a16="http://schemas.microsoft.com/office/drawing/2014/main" id="{FC742D01-ECE6-4DBE-A138-3A0DBE6ED0C7}"/>
                </a:ext>
              </a:extLst>
            </p:cNvPr>
            <p:cNvSpPr txBox="1"/>
            <p:nvPr/>
          </p:nvSpPr>
          <p:spPr>
            <a:xfrm>
              <a:off x="6889629" y="4739454"/>
              <a:ext cx="49" cy="115416"/>
            </a:xfrm>
            <a:prstGeom prst="rect">
              <a:avLst/>
            </a:prstGeom>
            <a:noFill/>
          </p:spPr>
          <p:txBody>
            <a:bodyPr wrap="none" lIns="0" tIns="0" rIns="0" bIns="0" rtlCol="0">
              <a:spAutoFit/>
            </a:bodyPr>
            <a:lstStyle/>
            <a:p>
              <a:pPr algn="l"/>
              <a:endParaRPr lang="en-GB" sz="1000"/>
            </a:p>
          </p:txBody>
        </p:sp>
        <p:sp>
          <p:nvSpPr>
            <p:cNvPr id="23" name="TextBox 22">
              <a:extLst>
                <a:ext uri="{FF2B5EF4-FFF2-40B4-BE49-F238E27FC236}">
                  <a16:creationId xmlns:a16="http://schemas.microsoft.com/office/drawing/2014/main" id="{0C014032-BD14-4F81-9716-CB67A8FB08B7}"/>
                </a:ext>
              </a:extLst>
            </p:cNvPr>
            <p:cNvSpPr txBox="1"/>
            <p:nvPr/>
          </p:nvSpPr>
          <p:spPr>
            <a:xfrm>
              <a:off x="3770886" y="4724717"/>
              <a:ext cx="1120499" cy="115416"/>
            </a:xfrm>
            <a:prstGeom prst="rect">
              <a:avLst/>
            </a:prstGeom>
            <a:noFill/>
          </p:spPr>
          <p:txBody>
            <a:bodyPr wrap="none" lIns="0" tIns="0" rIns="0" bIns="0" rtlCol="0">
              <a:spAutoFit/>
            </a:bodyPr>
            <a:lstStyle/>
            <a:p>
              <a:pPr algn="l"/>
              <a:r>
                <a:rPr lang="en-GB" sz="1000"/>
                <a:t>Single data master agreed</a:t>
              </a:r>
            </a:p>
          </p:txBody>
        </p:sp>
      </p:grpSp>
      <p:sp>
        <p:nvSpPr>
          <p:cNvPr id="24" name="TextBox 110">
            <a:extLst>
              <a:ext uri="{FF2B5EF4-FFF2-40B4-BE49-F238E27FC236}">
                <a16:creationId xmlns:a16="http://schemas.microsoft.com/office/drawing/2014/main" id="{0F0EF567-B3CA-43BB-A05E-652549524840}"/>
              </a:ext>
            </a:extLst>
          </p:cNvPr>
          <p:cNvSpPr txBox="1"/>
          <p:nvPr/>
        </p:nvSpPr>
        <p:spPr>
          <a:xfrm>
            <a:off x="990067" y="1144068"/>
            <a:ext cx="930063" cy="246221"/>
          </a:xfrm>
          <a:prstGeom prst="rect">
            <a:avLst/>
          </a:prstGeom>
          <a:noFill/>
        </p:spPr>
        <p:txBody>
          <a:bodyPr wrap="none" rtlCol="0">
            <a:spAutoFit/>
          </a:bodyPr>
          <a:lstStyle/>
          <a:p>
            <a:pPr algn="ctr"/>
            <a:r>
              <a:rPr lang="en-GB" sz="1000"/>
              <a:t>Data Domain</a:t>
            </a:r>
          </a:p>
        </p:txBody>
      </p:sp>
      <p:sp>
        <p:nvSpPr>
          <p:cNvPr id="25" name="TextBox 24">
            <a:extLst>
              <a:ext uri="{FF2B5EF4-FFF2-40B4-BE49-F238E27FC236}">
                <a16:creationId xmlns:a16="http://schemas.microsoft.com/office/drawing/2014/main" id="{E9C0B45D-4382-4AE3-A387-0AC09847F5F4}"/>
              </a:ext>
            </a:extLst>
          </p:cNvPr>
          <p:cNvSpPr txBox="1"/>
          <p:nvPr/>
        </p:nvSpPr>
        <p:spPr>
          <a:xfrm>
            <a:off x="4012124" y="6487959"/>
            <a:ext cx="1160574" cy="138499"/>
          </a:xfrm>
          <a:prstGeom prst="rect">
            <a:avLst/>
          </a:prstGeom>
          <a:noFill/>
        </p:spPr>
        <p:txBody>
          <a:bodyPr wrap="none" lIns="0" tIns="0" rIns="0" bIns="0" rtlCol="0">
            <a:spAutoFit/>
          </a:bodyPr>
          <a:lstStyle/>
          <a:p>
            <a:pPr algn="l"/>
            <a:r>
              <a:rPr lang="en-GB" sz="900"/>
              <a:t>Automated Replication</a:t>
            </a:r>
          </a:p>
        </p:txBody>
      </p:sp>
      <p:sp>
        <p:nvSpPr>
          <p:cNvPr id="26" name="Rounded Rectangle 36">
            <a:extLst>
              <a:ext uri="{FF2B5EF4-FFF2-40B4-BE49-F238E27FC236}">
                <a16:creationId xmlns:a16="http://schemas.microsoft.com/office/drawing/2014/main" id="{45B4F545-5C63-4108-ACCE-F0032C3A1F91}"/>
              </a:ext>
            </a:extLst>
          </p:cNvPr>
          <p:cNvSpPr/>
          <p:nvPr/>
        </p:nvSpPr>
        <p:spPr>
          <a:xfrm>
            <a:off x="750587" y="4137573"/>
            <a:ext cx="10905600" cy="161980"/>
          </a:xfrm>
          <a:prstGeom prst="roundRect">
            <a:avLst>
              <a:gd name="adj" fmla="val 5913"/>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a:solidFill>
                  <a:schemeClr val="tx1"/>
                </a:solidFill>
              </a:rPr>
              <a:t>Maximo / MDSI</a:t>
            </a:r>
          </a:p>
        </p:txBody>
      </p:sp>
      <p:sp>
        <p:nvSpPr>
          <p:cNvPr id="27" name="Rounded Rectangle 36">
            <a:extLst>
              <a:ext uri="{FF2B5EF4-FFF2-40B4-BE49-F238E27FC236}">
                <a16:creationId xmlns:a16="http://schemas.microsoft.com/office/drawing/2014/main" id="{31EF1BC3-819D-4177-8242-8FD713681C1E}"/>
              </a:ext>
            </a:extLst>
          </p:cNvPr>
          <p:cNvSpPr/>
          <p:nvPr/>
        </p:nvSpPr>
        <p:spPr>
          <a:xfrm>
            <a:off x="750587" y="4337042"/>
            <a:ext cx="10905600" cy="161980"/>
          </a:xfrm>
          <a:prstGeom prst="roundRect">
            <a:avLst>
              <a:gd name="adj" fmla="val 5913"/>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a:solidFill>
                  <a:schemeClr val="tx1"/>
                </a:solidFill>
              </a:rPr>
              <a:t>Storms / </a:t>
            </a:r>
            <a:r>
              <a:rPr lang="en-IN" sz="733" err="1">
                <a:solidFill>
                  <a:schemeClr val="tx1"/>
                </a:solidFill>
              </a:rPr>
              <a:t>Mwork</a:t>
            </a:r>
            <a:r>
              <a:rPr lang="en-IN" sz="733">
                <a:solidFill>
                  <a:schemeClr val="tx1"/>
                </a:solidFill>
              </a:rPr>
              <a:t> / MDSI (LI)</a:t>
            </a:r>
          </a:p>
        </p:txBody>
      </p:sp>
      <p:sp>
        <p:nvSpPr>
          <p:cNvPr id="28" name="Rounded Rectangle 36">
            <a:extLst>
              <a:ext uri="{FF2B5EF4-FFF2-40B4-BE49-F238E27FC236}">
                <a16:creationId xmlns:a16="http://schemas.microsoft.com/office/drawing/2014/main" id="{EAB43BB2-E9FB-4653-BC65-141AFEC65B8C}"/>
              </a:ext>
            </a:extLst>
          </p:cNvPr>
          <p:cNvSpPr/>
          <p:nvPr/>
        </p:nvSpPr>
        <p:spPr>
          <a:xfrm>
            <a:off x="753332" y="4713370"/>
            <a:ext cx="10905600" cy="161980"/>
          </a:xfrm>
          <a:prstGeom prst="roundRect">
            <a:avLst>
              <a:gd name="adj" fmla="val 5913"/>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a:solidFill>
                  <a:schemeClr val="tx1"/>
                </a:solidFill>
              </a:rPr>
              <a:t>SAP ECC6</a:t>
            </a:r>
          </a:p>
        </p:txBody>
      </p:sp>
      <p:sp>
        <p:nvSpPr>
          <p:cNvPr id="29" name="TextBox 28">
            <a:extLst>
              <a:ext uri="{FF2B5EF4-FFF2-40B4-BE49-F238E27FC236}">
                <a16:creationId xmlns:a16="http://schemas.microsoft.com/office/drawing/2014/main" id="{0CBF20BB-CDA1-4EA1-B951-E5993037A813}"/>
              </a:ext>
            </a:extLst>
          </p:cNvPr>
          <p:cNvSpPr txBox="1"/>
          <p:nvPr/>
        </p:nvSpPr>
        <p:spPr>
          <a:xfrm>
            <a:off x="2394691" y="1147044"/>
            <a:ext cx="919875" cy="235898"/>
          </a:xfrm>
          <a:prstGeom prst="rect">
            <a:avLst/>
          </a:prstGeom>
          <a:noFill/>
        </p:spPr>
        <p:txBody>
          <a:bodyPr wrap="square" lIns="0" rIns="0" rtlCol="0">
            <a:spAutoFit/>
          </a:bodyPr>
          <a:lstStyle/>
          <a:p>
            <a:pPr algn="ctr"/>
            <a:r>
              <a:rPr lang="en-GB" sz="933"/>
              <a:t>Market / Sales</a:t>
            </a:r>
          </a:p>
        </p:txBody>
      </p:sp>
      <p:sp>
        <p:nvSpPr>
          <p:cNvPr id="30" name="TextBox 29">
            <a:extLst>
              <a:ext uri="{FF2B5EF4-FFF2-40B4-BE49-F238E27FC236}">
                <a16:creationId xmlns:a16="http://schemas.microsoft.com/office/drawing/2014/main" id="{8D80072A-E64F-436E-A4CB-D174FEAFFA22}"/>
              </a:ext>
            </a:extLst>
          </p:cNvPr>
          <p:cNvSpPr txBox="1"/>
          <p:nvPr/>
        </p:nvSpPr>
        <p:spPr>
          <a:xfrm>
            <a:off x="8862458" y="1147044"/>
            <a:ext cx="913420" cy="235898"/>
          </a:xfrm>
          <a:prstGeom prst="rect">
            <a:avLst/>
          </a:prstGeom>
          <a:noFill/>
        </p:spPr>
        <p:txBody>
          <a:bodyPr wrap="square" rtlCol="0">
            <a:spAutoFit/>
          </a:bodyPr>
          <a:lstStyle/>
          <a:p>
            <a:pPr algn="ctr"/>
            <a:r>
              <a:rPr lang="en-GB" sz="933"/>
              <a:t>Asset</a:t>
            </a:r>
          </a:p>
        </p:txBody>
      </p:sp>
      <p:sp>
        <p:nvSpPr>
          <p:cNvPr id="31" name="TextBox 30">
            <a:extLst>
              <a:ext uri="{FF2B5EF4-FFF2-40B4-BE49-F238E27FC236}">
                <a16:creationId xmlns:a16="http://schemas.microsoft.com/office/drawing/2014/main" id="{B6010A19-1A13-48CD-989B-D0FD7A73C421}"/>
              </a:ext>
            </a:extLst>
          </p:cNvPr>
          <p:cNvSpPr txBox="1"/>
          <p:nvPr/>
        </p:nvSpPr>
        <p:spPr>
          <a:xfrm>
            <a:off x="9957474" y="1147044"/>
            <a:ext cx="587020" cy="235898"/>
          </a:xfrm>
          <a:prstGeom prst="rect">
            <a:avLst/>
          </a:prstGeom>
          <a:noFill/>
        </p:spPr>
        <p:txBody>
          <a:bodyPr wrap="none" rtlCol="0">
            <a:spAutoFit/>
          </a:bodyPr>
          <a:lstStyle/>
          <a:p>
            <a:pPr algn="ctr"/>
            <a:r>
              <a:rPr lang="en-GB" sz="933"/>
              <a:t>Bill/Pay</a:t>
            </a:r>
          </a:p>
        </p:txBody>
      </p:sp>
      <p:sp>
        <p:nvSpPr>
          <p:cNvPr id="32" name="TextBox 31">
            <a:extLst>
              <a:ext uri="{FF2B5EF4-FFF2-40B4-BE49-F238E27FC236}">
                <a16:creationId xmlns:a16="http://schemas.microsoft.com/office/drawing/2014/main" id="{8FDF8D8E-1D94-4DA0-BCD0-691CA06DB4D7}"/>
              </a:ext>
            </a:extLst>
          </p:cNvPr>
          <p:cNvSpPr txBox="1"/>
          <p:nvPr/>
        </p:nvSpPr>
        <p:spPr>
          <a:xfrm>
            <a:off x="8138330" y="1147044"/>
            <a:ext cx="484428" cy="235898"/>
          </a:xfrm>
          <a:prstGeom prst="rect">
            <a:avLst/>
          </a:prstGeom>
          <a:noFill/>
        </p:spPr>
        <p:txBody>
          <a:bodyPr wrap="none" rtlCol="0">
            <a:spAutoFit/>
          </a:bodyPr>
          <a:lstStyle/>
          <a:p>
            <a:pPr algn="ctr"/>
            <a:r>
              <a:rPr lang="en-GB" sz="933"/>
              <a:t>Asset</a:t>
            </a:r>
          </a:p>
        </p:txBody>
      </p:sp>
      <p:sp>
        <p:nvSpPr>
          <p:cNvPr id="33" name="TextBox 32">
            <a:extLst>
              <a:ext uri="{FF2B5EF4-FFF2-40B4-BE49-F238E27FC236}">
                <a16:creationId xmlns:a16="http://schemas.microsoft.com/office/drawing/2014/main" id="{F1E1CFAC-F80A-4AF4-9789-5B0CD45124BE}"/>
              </a:ext>
            </a:extLst>
          </p:cNvPr>
          <p:cNvSpPr txBox="1"/>
          <p:nvPr/>
        </p:nvSpPr>
        <p:spPr>
          <a:xfrm>
            <a:off x="6198917" y="1147044"/>
            <a:ext cx="585418" cy="235898"/>
          </a:xfrm>
          <a:prstGeom prst="rect">
            <a:avLst/>
          </a:prstGeom>
          <a:noFill/>
        </p:spPr>
        <p:txBody>
          <a:bodyPr wrap="none" rtlCol="0">
            <a:spAutoFit/>
          </a:bodyPr>
          <a:lstStyle/>
          <a:p>
            <a:pPr algn="ctr"/>
            <a:r>
              <a:rPr lang="en-GB" sz="933"/>
              <a:t>Service</a:t>
            </a:r>
          </a:p>
        </p:txBody>
      </p:sp>
      <p:sp>
        <p:nvSpPr>
          <p:cNvPr id="34" name="TextBox 33">
            <a:extLst>
              <a:ext uri="{FF2B5EF4-FFF2-40B4-BE49-F238E27FC236}">
                <a16:creationId xmlns:a16="http://schemas.microsoft.com/office/drawing/2014/main" id="{358A18BE-F247-402B-A94D-6E540AC650B9}"/>
              </a:ext>
            </a:extLst>
          </p:cNvPr>
          <p:cNvSpPr txBox="1"/>
          <p:nvPr/>
        </p:nvSpPr>
        <p:spPr>
          <a:xfrm>
            <a:off x="10881097" y="1147044"/>
            <a:ext cx="614271" cy="235898"/>
          </a:xfrm>
          <a:prstGeom prst="rect">
            <a:avLst/>
          </a:prstGeom>
          <a:noFill/>
        </p:spPr>
        <p:txBody>
          <a:bodyPr wrap="none" rtlCol="0">
            <a:spAutoFit/>
          </a:bodyPr>
          <a:lstStyle/>
          <a:p>
            <a:pPr algn="ctr"/>
            <a:r>
              <a:rPr lang="en-GB" sz="933"/>
              <a:t>Finance</a:t>
            </a:r>
          </a:p>
        </p:txBody>
      </p:sp>
      <p:sp>
        <p:nvSpPr>
          <p:cNvPr id="35" name="TextBox 34">
            <a:extLst>
              <a:ext uri="{FF2B5EF4-FFF2-40B4-BE49-F238E27FC236}">
                <a16:creationId xmlns:a16="http://schemas.microsoft.com/office/drawing/2014/main" id="{DC518A03-ED36-4DEF-9190-5E13A0013AEC}"/>
              </a:ext>
            </a:extLst>
          </p:cNvPr>
          <p:cNvSpPr txBox="1"/>
          <p:nvPr/>
        </p:nvSpPr>
        <p:spPr>
          <a:xfrm>
            <a:off x="3447605" y="641592"/>
            <a:ext cx="591509" cy="630942"/>
          </a:xfrm>
          <a:prstGeom prst="rect">
            <a:avLst/>
          </a:prstGeom>
          <a:noFill/>
        </p:spPr>
        <p:txBody>
          <a:bodyPr wrap="none" lIns="0" tIns="0" rIns="0" bIns="0" rtlCol="0">
            <a:spAutoFit/>
          </a:bodyPr>
          <a:lstStyle/>
          <a:p>
            <a:pPr algn="l"/>
            <a:r>
              <a:rPr lang="en-GB" sz="800" b="1"/>
              <a:t>Contact /</a:t>
            </a:r>
          </a:p>
          <a:p>
            <a:r>
              <a:rPr lang="en-GB" sz="800" b="1"/>
              <a:t>Customer</a:t>
            </a:r>
          </a:p>
          <a:p>
            <a:r>
              <a:rPr lang="en-GB" sz="800" b="1"/>
              <a:t>Profile /</a:t>
            </a:r>
          </a:p>
          <a:p>
            <a:r>
              <a:rPr lang="en-GB" sz="800" b="1"/>
              <a:t>Preferences</a:t>
            </a:r>
          </a:p>
          <a:p>
            <a:pPr algn="l"/>
            <a:endParaRPr lang="en-GB" sz="800" b="1"/>
          </a:p>
        </p:txBody>
      </p:sp>
      <p:sp>
        <p:nvSpPr>
          <p:cNvPr id="36" name="TextBox 35">
            <a:extLst>
              <a:ext uri="{FF2B5EF4-FFF2-40B4-BE49-F238E27FC236}">
                <a16:creationId xmlns:a16="http://schemas.microsoft.com/office/drawing/2014/main" id="{F0FF9462-FD65-4D4C-AF16-E60D8F3EE428}"/>
              </a:ext>
            </a:extLst>
          </p:cNvPr>
          <p:cNvSpPr txBox="1"/>
          <p:nvPr/>
        </p:nvSpPr>
        <p:spPr>
          <a:xfrm>
            <a:off x="4361296" y="655446"/>
            <a:ext cx="586699" cy="246221"/>
          </a:xfrm>
          <a:prstGeom prst="rect">
            <a:avLst/>
          </a:prstGeom>
          <a:noFill/>
        </p:spPr>
        <p:txBody>
          <a:bodyPr wrap="none" lIns="0" tIns="0" rIns="0" bIns="0" rtlCol="0">
            <a:spAutoFit/>
          </a:bodyPr>
          <a:lstStyle/>
          <a:p>
            <a:r>
              <a:rPr lang="en-GB" sz="800" b="1"/>
              <a:t>Lead /</a:t>
            </a:r>
          </a:p>
          <a:p>
            <a:r>
              <a:rPr lang="en-GB" sz="800" b="1"/>
              <a:t>Opportunity</a:t>
            </a:r>
          </a:p>
        </p:txBody>
      </p:sp>
      <p:sp>
        <p:nvSpPr>
          <p:cNvPr id="37" name="TextBox 36">
            <a:extLst>
              <a:ext uri="{FF2B5EF4-FFF2-40B4-BE49-F238E27FC236}">
                <a16:creationId xmlns:a16="http://schemas.microsoft.com/office/drawing/2014/main" id="{993C1363-56B6-4D47-8C7A-ADE92DFC0F3A}"/>
              </a:ext>
            </a:extLst>
          </p:cNvPr>
          <p:cNvSpPr txBox="1"/>
          <p:nvPr/>
        </p:nvSpPr>
        <p:spPr>
          <a:xfrm>
            <a:off x="7149914" y="641592"/>
            <a:ext cx="479298" cy="246221"/>
          </a:xfrm>
          <a:prstGeom prst="rect">
            <a:avLst/>
          </a:prstGeom>
          <a:noFill/>
        </p:spPr>
        <p:txBody>
          <a:bodyPr wrap="none" lIns="0" tIns="0" rIns="0" bIns="0" rtlCol="0">
            <a:spAutoFit/>
          </a:bodyPr>
          <a:lstStyle/>
          <a:p>
            <a:pPr algn="l"/>
            <a:r>
              <a:rPr lang="en-GB" sz="800" b="1"/>
              <a:t>Customer</a:t>
            </a:r>
          </a:p>
          <a:p>
            <a:pPr algn="l"/>
            <a:r>
              <a:rPr lang="en-GB" sz="800" b="1"/>
              <a:t>/ Account</a:t>
            </a:r>
          </a:p>
        </p:txBody>
      </p:sp>
      <p:sp>
        <p:nvSpPr>
          <p:cNvPr id="38" name="TextBox 37">
            <a:extLst>
              <a:ext uri="{FF2B5EF4-FFF2-40B4-BE49-F238E27FC236}">
                <a16:creationId xmlns:a16="http://schemas.microsoft.com/office/drawing/2014/main" id="{3C699645-90E3-429A-A87F-A94454D08798}"/>
              </a:ext>
            </a:extLst>
          </p:cNvPr>
          <p:cNvSpPr txBox="1"/>
          <p:nvPr/>
        </p:nvSpPr>
        <p:spPr>
          <a:xfrm>
            <a:off x="8180177" y="641592"/>
            <a:ext cx="519373" cy="446276"/>
          </a:xfrm>
          <a:prstGeom prst="rect">
            <a:avLst/>
          </a:prstGeom>
          <a:noFill/>
        </p:spPr>
        <p:txBody>
          <a:bodyPr wrap="none" lIns="0" tIns="0" rIns="0" bIns="0" rtlCol="0">
            <a:spAutoFit/>
          </a:bodyPr>
          <a:lstStyle/>
          <a:p>
            <a:pPr algn="l"/>
            <a:r>
              <a:rPr lang="en-GB" sz="800" b="1"/>
              <a:t>Asset</a:t>
            </a:r>
            <a:endParaRPr lang="en-GB" sz="700" b="1"/>
          </a:p>
          <a:p>
            <a:pPr algn="l"/>
            <a:r>
              <a:rPr lang="en-GB" sz="700" b="1"/>
              <a:t>(e.g. Meter /</a:t>
            </a:r>
          </a:p>
          <a:p>
            <a:pPr algn="l"/>
            <a:r>
              <a:rPr lang="en-GB" sz="700" b="1"/>
              <a:t>Product</a:t>
            </a:r>
          </a:p>
          <a:p>
            <a:pPr algn="l"/>
            <a:r>
              <a:rPr lang="en-GB" sz="700" b="1"/>
              <a:t>Thermostat)</a:t>
            </a:r>
          </a:p>
        </p:txBody>
      </p:sp>
      <p:sp>
        <p:nvSpPr>
          <p:cNvPr id="39" name="TextBox 38">
            <a:extLst>
              <a:ext uri="{FF2B5EF4-FFF2-40B4-BE49-F238E27FC236}">
                <a16:creationId xmlns:a16="http://schemas.microsoft.com/office/drawing/2014/main" id="{07BBA223-551E-4D99-BC53-610D18FFF7C6}"/>
              </a:ext>
            </a:extLst>
          </p:cNvPr>
          <p:cNvSpPr txBox="1"/>
          <p:nvPr/>
        </p:nvSpPr>
        <p:spPr>
          <a:xfrm>
            <a:off x="10008137" y="641592"/>
            <a:ext cx="429605" cy="246221"/>
          </a:xfrm>
          <a:prstGeom prst="rect">
            <a:avLst/>
          </a:prstGeom>
          <a:noFill/>
        </p:spPr>
        <p:txBody>
          <a:bodyPr wrap="none" lIns="0" tIns="0" rIns="0" bIns="0" rtlCol="0">
            <a:spAutoFit/>
          </a:bodyPr>
          <a:lstStyle/>
          <a:p>
            <a:r>
              <a:rPr lang="en-GB" sz="800" b="1"/>
              <a:t>Bill /</a:t>
            </a:r>
          </a:p>
          <a:p>
            <a:r>
              <a:rPr lang="en-GB" sz="800" b="1"/>
              <a:t>Payment</a:t>
            </a:r>
          </a:p>
        </p:txBody>
      </p:sp>
      <p:sp>
        <p:nvSpPr>
          <p:cNvPr id="40" name="TextBox 39">
            <a:extLst>
              <a:ext uri="{FF2B5EF4-FFF2-40B4-BE49-F238E27FC236}">
                <a16:creationId xmlns:a16="http://schemas.microsoft.com/office/drawing/2014/main" id="{063E3051-5B93-4D0B-9ABC-411A255E4D96}"/>
              </a:ext>
            </a:extLst>
          </p:cNvPr>
          <p:cNvSpPr txBox="1"/>
          <p:nvPr/>
        </p:nvSpPr>
        <p:spPr>
          <a:xfrm>
            <a:off x="10918158" y="641592"/>
            <a:ext cx="410369" cy="246221"/>
          </a:xfrm>
          <a:prstGeom prst="rect">
            <a:avLst/>
          </a:prstGeom>
          <a:noFill/>
        </p:spPr>
        <p:txBody>
          <a:bodyPr wrap="none" lIns="0" tIns="0" rIns="0" bIns="0" rtlCol="0">
            <a:spAutoFit/>
          </a:bodyPr>
          <a:lstStyle/>
          <a:p>
            <a:pPr algn="l"/>
            <a:r>
              <a:rPr lang="en-GB" sz="800" b="1"/>
              <a:t>GL </a:t>
            </a:r>
          </a:p>
          <a:p>
            <a:pPr algn="l"/>
            <a:r>
              <a:rPr lang="en-GB" sz="800" b="1"/>
              <a:t>Account</a:t>
            </a:r>
          </a:p>
        </p:txBody>
      </p:sp>
      <p:sp>
        <p:nvSpPr>
          <p:cNvPr id="41" name="TextBox 40">
            <a:extLst>
              <a:ext uri="{FF2B5EF4-FFF2-40B4-BE49-F238E27FC236}">
                <a16:creationId xmlns:a16="http://schemas.microsoft.com/office/drawing/2014/main" id="{B2FCDC1D-AD6D-4B28-BCD8-600B826EAAD5}"/>
              </a:ext>
            </a:extLst>
          </p:cNvPr>
          <p:cNvSpPr txBox="1"/>
          <p:nvPr/>
        </p:nvSpPr>
        <p:spPr>
          <a:xfrm>
            <a:off x="6175264" y="641592"/>
            <a:ext cx="748324" cy="446276"/>
          </a:xfrm>
          <a:prstGeom prst="rect">
            <a:avLst/>
          </a:prstGeom>
          <a:noFill/>
        </p:spPr>
        <p:txBody>
          <a:bodyPr wrap="square" lIns="0" tIns="0" rIns="0" bIns="0" rtlCol="0">
            <a:spAutoFit/>
          </a:bodyPr>
          <a:lstStyle/>
          <a:p>
            <a:r>
              <a:rPr lang="en-GB" sz="800" b="1"/>
              <a:t>Case</a:t>
            </a:r>
            <a:endParaRPr lang="en-GB" sz="700" b="1"/>
          </a:p>
          <a:p>
            <a:r>
              <a:rPr lang="en-GB" sz="700" b="1"/>
              <a:t>(e.g. Application/</a:t>
            </a:r>
          </a:p>
          <a:p>
            <a:r>
              <a:rPr lang="en-GB" sz="700" b="1"/>
              <a:t>Work Order</a:t>
            </a:r>
          </a:p>
          <a:p>
            <a:r>
              <a:rPr lang="en-GB" sz="700" b="1"/>
              <a:t>Complaint)</a:t>
            </a:r>
          </a:p>
        </p:txBody>
      </p:sp>
      <p:sp>
        <p:nvSpPr>
          <p:cNvPr id="42" name="TextBox 41">
            <a:extLst>
              <a:ext uri="{FF2B5EF4-FFF2-40B4-BE49-F238E27FC236}">
                <a16:creationId xmlns:a16="http://schemas.microsoft.com/office/drawing/2014/main" id="{4E2BD7CC-3875-4B77-84AA-AB0A92CEA351}"/>
              </a:ext>
            </a:extLst>
          </p:cNvPr>
          <p:cNvSpPr txBox="1"/>
          <p:nvPr/>
        </p:nvSpPr>
        <p:spPr>
          <a:xfrm>
            <a:off x="3284494" y="1147044"/>
            <a:ext cx="919875" cy="235898"/>
          </a:xfrm>
          <a:prstGeom prst="rect">
            <a:avLst/>
          </a:prstGeom>
          <a:noFill/>
        </p:spPr>
        <p:txBody>
          <a:bodyPr wrap="square" lIns="0" rIns="0" rtlCol="0">
            <a:spAutoFit/>
          </a:bodyPr>
          <a:lstStyle/>
          <a:p>
            <a:pPr algn="ctr"/>
            <a:r>
              <a:rPr lang="en-GB" sz="933"/>
              <a:t>Market / Sales</a:t>
            </a:r>
          </a:p>
        </p:txBody>
      </p:sp>
      <p:sp>
        <p:nvSpPr>
          <p:cNvPr id="43" name="TextBox 42">
            <a:extLst>
              <a:ext uri="{FF2B5EF4-FFF2-40B4-BE49-F238E27FC236}">
                <a16:creationId xmlns:a16="http://schemas.microsoft.com/office/drawing/2014/main" id="{8F468D74-B2D1-4029-B28A-444A3E05C05D}"/>
              </a:ext>
            </a:extLst>
          </p:cNvPr>
          <p:cNvSpPr txBox="1"/>
          <p:nvPr/>
        </p:nvSpPr>
        <p:spPr>
          <a:xfrm>
            <a:off x="5148175" y="1147044"/>
            <a:ext cx="919875" cy="235898"/>
          </a:xfrm>
          <a:prstGeom prst="rect">
            <a:avLst/>
          </a:prstGeom>
          <a:noFill/>
        </p:spPr>
        <p:txBody>
          <a:bodyPr wrap="square" lIns="0" rIns="0" rtlCol="0">
            <a:spAutoFit/>
          </a:bodyPr>
          <a:lstStyle/>
          <a:p>
            <a:pPr algn="ctr"/>
            <a:r>
              <a:rPr lang="en-GB" sz="933"/>
              <a:t>Service</a:t>
            </a:r>
          </a:p>
        </p:txBody>
      </p:sp>
      <p:sp>
        <p:nvSpPr>
          <p:cNvPr id="44" name="TextBox 43">
            <a:extLst>
              <a:ext uri="{FF2B5EF4-FFF2-40B4-BE49-F238E27FC236}">
                <a16:creationId xmlns:a16="http://schemas.microsoft.com/office/drawing/2014/main" id="{DF28A6A8-8B55-4172-91E2-02074D95E353}"/>
              </a:ext>
            </a:extLst>
          </p:cNvPr>
          <p:cNvSpPr txBox="1"/>
          <p:nvPr/>
        </p:nvSpPr>
        <p:spPr>
          <a:xfrm>
            <a:off x="4242145" y="1147044"/>
            <a:ext cx="919875" cy="235898"/>
          </a:xfrm>
          <a:prstGeom prst="rect">
            <a:avLst/>
          </a:prstGeom>
          <a:noFill/>
        </p:spPr>
        <p:txBody>
          <a:bodyPr wrap="square" lIns="0" rIns="0" rtlCol="0">
            <a:spAutoFit/>
          </a:bodyPr>
          <a:lstStyle/>
          <a:p>
            <a:pPr algn="ctr"/>
            <a:r>
              <a:rPr lang="en-GB" sz="933"/>
              <a:t>Market / Sales</a:t>
            </a:r>
          </a:p>
        </p:txBody>
      </p:sp>
      <p:sp>
        <p:nvSpPr>
          <p:cNvPr id="45" name="TextBox 44">
            <a:extLst>
              <a:ext uri="{FF2B5EF4-FFF2-40B4-BE49-F238E27FC236}">
                <a16:creationId xmlns:a16="http://schemas.microsoft.com/office/drawing/2014/main" id="{F653B079-442E-47E1-85EB-351AD7B21D08}"/>
              </a:ext>
            </a:extLst>
          </p:cNvPr>
          <p:cNvSpPr txBox="1"/>
          <p:nvPr/>
        </p:nvSpPr>
        <p:spPr>
          <a:xfrm>
            <a:off x="5368312" y="641592"/>
            <a:ext cx="469680" cy="246221"/>
          </a:xfrm>
          <a:prstGeom prst="rect">
            <a:avLst/>
          </a:prstGeom>
          <a:noFill/>
        </p:spPr>
        <p:txBody>
          <a:bodyPr wrap="none" lIns="0" tIns="0" rIns="0" bIns="0" rtlCol="0">
            <a:spAutoFit/>
          </a:bodyPr>
          <a:lstStyle/>
          <a:p>
            <a:r>
              <a:rPr lang="en-GB" sz="800" b="1"/>
              <a:t>Location</a:t>
            </a:r>
          </a:p>
          <a:p>
            <a:r>
              <a:rPr lang="en-GB" sz="800" b="1"/>
              <a:t>(Premise)</a:t>
            </a:r>
          </a:p>
        </p:txBody>
      </p:sp>
      <p:sp>
        <p:nvSpPr>
          <p:cNvPr id="46" name="TextBox 45">
            <a:extLst>
              <a:ext uri="{FF2B5EF4-FFF2-40B4-BE49-F238E27FC236}">
                <a16:creationId xmlns:a16="http://schemas.microsoft.com/office/drawing/2014/main" id="{A8DAAEE1-2B18-4240-BFB1-9BAA00B7E13B}"/>
              </a:ext>
            </a:extLst>
          </p:cNvPr>
          <p:cNvSpPr txBox="1"/>
          <p:nvPr/>
        </p:nvSpPr>
        <p:spPr>
          <a:xfrm>
            <a:off x="9113085" y="641592"/>
            <a:ext cx="439223" cy="369332"/>
          </a:xfrm>
          <a:prstGeom prst="rect">
            <a:avLst/>
          </a:prstGeom>
          <a:noFill/>
        </p:spPr>
        <p:txBody>
          <a:bodyPr wrap="none" lIns="0" tIns="0" rIns="0" bIns="0" rtlCol="0">
            <a:spAutoFit/>
          </a:bodyPr>
          <a:lstStyle/>
          <a:p>
            <a:r>
              <a:rPr lang="en-GB" sz="800" b="1"/>
              <a:t>Usage</a:t>
            </a:r>
          </a:p>
          <a:p>
            <a:r>
              <a:rPr lang="en-GB" sz="800" b="1"/>
              <a:t>(Meter </a:t>
            </a:r>
          </a:p>
          <a:p>
            <a:r>
              <a:rPr lang="en-GB" sz="800" b="1"/>
              <a:t>Reading)</a:t>
            </a:r>
          </a:p>
        </p:txBody>
      </p:sp>
      <p:sp>
        <p:nvSpPr>
          <p:cNvPr id="47" name="TextBox 46">
            <a:extLst>
              <a:ext uri="{FF2B5EF4-FFF2-40B4-BE49-F238E27FC236}">
                <a16:creationId xmlns:a16="http://schemas.microsoft.com/office/drawing/2014/main" id="{2DE83196-E42E-46D0-AF0D-616F10F0317F}"/>
              </a:ext>
            </a:extLst>
          </p:cNvPr>
          <p:cNvSpPr txBox="1"/>
          <p:nvPr/>
        </p:nvSpPr>
        <p:spPr>
          <a:xfrm>
            <a:off x="7145544" y="1147044"/>
            <a:ext cx="585418" cy="235898"/>
          </a:xfrm>
          <a:prstGeom prst="rect">
            <a:avLst/>
          </a:prstGeom>
          <a:noFill/>
        </p:spPr>
        <p:txBody>
          <a:bodyPr wrap="none" rtlCol="0">
            <a:spAutoFit/>
          </a:bodyPr>
          <a:lstStyle/>
          <a:p>
            <a:pPr algn="ctr"/>
            <a:r>
              <a:rPr lang="en-GB" sz="933"/>
              <a:t>Service</a:t>
            </a:r>
          </a:p>
        </p:txBody>
      </p:sp>
      <p:sp>
        <p:nvSpPr>
          <p:cNvPr id="48" name="Rounded Rectangle 36">
            <a:extLst>
              <a:ext uri="{FF2B5EF4-FFF2-40B4-BE49-F238E27FC236}">
                <a16:creationId xmlns:a16="http://schemas.microsoft.com/office/drawing/2014/main" id="{BBB7ABFC-D432-4C81-B40A-4630BD76F072}"/>
              </a:ext>
            </a:extLst>
          </p:cNvPr>
          <p:cNvSpPr/>
          <p:nvPr/>
        </p:nvSpPr>
        <p:spPr>
          <a:xfrm>
            <a:off x="749328" y="2037230"/>
            <a:ext cx="10899177" cy="161980"/>
          </a:xfrm>
          <a:prstGeom prst="roundRect">
            <a:avLst>
              <a:gd name="adj" fmla="val 5913"/>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a:solidFill>
                  <a:schemeClr val="tx1"/>
                </a:solidFill>
              </a:rPr>
              <a:t>Marketplaces (EE/EV Products)</a:t>
            </a:r>
          </a:p>
        </p:txBody>
      </p:sp>
      <p:sp>
        <p:nvSpPr>
          <p:cNvPr id="49" name="Rounded Rectangle 36">
            <a:extLst>
              <a:ext uri="{FF2B5EF4-FFF2-40B4-BE49-F238E27FC236}">
                <a16:creationId xmlns:a16="http://schemas.microsoft.com/office/drawing/2014/main" id="{5F4288B7-DE79-4A8B-8154-F659AFD2266B}"/>
              </a:ext>
            </a:extLst>
          </p:cNvPr>
          <p:cNvSpPr/>
          <p:nvPr/>
        </p:nvSpPr>
        <p:spPr>
          <a:xfrm>
            <a:off x="738926" y="2985791"/>
            <a:ext cx="10899177" cy="161980"/>
          </a:xfrm>
          <a:prstGeom prst="roundRect">
            <a:avLst>
              <a:gd name="adj" fmla="val 5913"/>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a:solidFill>
                  <a:schemeClr val="tx1"/>
                </a:solidFill>
              </a:rPr>
              <a:t>In-Demand (DSM/EE Program Mgt.)</a:t>
            </a:r>
          </a:p>
        </p:txBody>
      </p:sp>
      <p:sp>
        <p:nvSpPr>
          <p:cNvPr id="50" name="Rounded Rectangle 36">
            <a:extLst>
              <a:ext uri="{FF2B5EF4-FFF2-40B4-BE49-F238E27FC236}">
                <a16:creationId xmlns:a16="http://schemas.microsoft.com/office/drawing/2014/main" id="{F3672F17-BE77-44F1-A40F-B7E6F718B3DA}"/>
              </a:ext>
            </a:extLst>
          </p:cNvPr>
          <p:cNvSpPr/>
          <p:nvPr/>
        </p:nvSpPr>
        <p:spPr>
          <a:xfrm>
            <a:off x="763452" y="2222150"/>
            <a:ext cx="10899177" cy="161980"/>
          </a:xfrm>
          <a:prstGeom prst="roundRect">
            <a:avLst>
              <a:gd name="adj" fmla="val 5913"/>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dirty="0">
                <a:solidFill>
                  <a:schemeClr val="tx1"/>
                </a:solidFill>
              </a:rPr>
              <a:t>Questline / MC (Marketing Comm)</a:t>
            </a:r>
          </a:p>
        </p:txBody>
      </p:sp>
      <p:pic>
        <p:nvPicPr>
          <p:cNvPr id="51" name="Picture 50" descr="A close up of a logo&#10;&#10;Description automatically generated">
            <a:extLst>
              <a:ext uri="{FF2B5EF4-FFF2-40B4-BE49-F238E27FC236}">
                <a16:creationId xmlns:a16="http://schemas.microsoft.com/office/drawing/2014/main" id="{DF87FC85-7028-442D-8B27-95291B514C91}"/>
              </a:ext>
            </a:extLst>
          </p:cNvPr>
          <p:cNvPicPr>
            <a:picLocks noChangeAspect="1"/>
          </p:cNvPicPr>
          <p:nvPr/>
        </p:nvPicPr>
        <p:blipFill>
          <a:blip r:embed="rId4"/>
          <a:stretch>
            <a:fillRect/>
          </a:stretch>
        </p:blipFill>
        <p:spPr>
          <a:xfrm>
            <a:off x="4556473" y="2782516"/>
            <a:ext cx="162249" cy="162249"/>
          </a:xfrm>
          <a:prstGeom prst="rect">
            <a:avLst/>
          </a:prstGeom>
        </p:spPr>
      </p:pic>
      <p:pic>
        <p:nvPicPr>
          <p:cNvPr id="52" name="Picture 51" descr="A close up of a logo&#10;&#10;Description automatically generated">
            <a:extLst>
              <a:ext uri="{FF2B5EF4-FFF2-40B4-BE49-F238E27FC236}">
                <a16:creationId xmlns:a16="http://schemas.microsoft.com/office/drawing/2014/main" id="{BE0527E6-D0D0-4D28-B84A-06BC4A08CF3F}"/>
              </a:ext>
            </a:extLst>
          </p:cNvPr>
          <p:cNvPicPr>
            <a:picLocks noChangeAspect="1"/>
          </p:cNvPicPr>
          <p:nvPr/>
        </p:nvPicPr>
        <p:blipFill>
          <a:blip r:embed="rId4"/>
          <a:stretch>
            <a:fillRect/>
          </a:stretch>
        </p:blipFill>
        <p:spPr>
          <a:xfrm>
            <a:off x="3516991" y="3362405"/>
            <a:ext cx="162249" cy="162249"/>
          </a:xfrm>
          <a:prstGeom prst="rect">
            <a:avLst/>
          </a:prstGeom>
        </p:spPr>
      </p:pic>
      <p:pic>
        <p:nvPicPr>
          <p:cNvPr id="53" name="Picture 52" descr="A close up of a logo&#10;&#10;Description automatically generated">
            <a:extLst>
              <a:ext uri="{FF2B5EF4-FFF2-40B4-BE49-F238E27FC236}">
                <a16:creationId xmlns:a16="http://schemas.microsoft.com/office/drawing/2014/main" id="{46AD4CB6-D25A-449E-8C76-F19CC8C65975}"/>
              </a:ext>
            </a:extLst>
          </p:cNvPr>
          <p:cNvPicPr>
            <a:picLocks noChangeAspect="1"/>
          </p:cNvPicPr>
          <p:nvPr/>
        </p:nvPicPr>
        <p:blipFill>
          <a:blip r:embed="rId4"/>
          <a:stretch>
            <a:fillRect/>
          </a:stretch>
        </p:blipFill>
        <p:spPr>
          <a:xfrm>
            <a:off x="3516991" y="2782516"/>
            <a:ext cx="162249" cy="162249"/>
          </a:xfrm>
          <a:prstGeom prst="rect">
            <a:avLst/>
          </a:prstGeom>
        </p:spPr>
      </p:pic>
      <p:pic>
        <p:nvPicPr>
          <p:cNvPr id="54" name="Picture 53" descr="A close up of a logo&#10;&#10;Description automatically generated">
            <a:extLst>
              <a:ext uri="{FF2B5EF4-FFF2-40B4-BE49-F238E27FC236}">
                <a16:creationId xmlns:a16="http://schemas.microsoft.com/office/drawing/2014/main" id="{3D4951EE-F44E-4569-B29E-567CC19BDDA9}"/>
              </a:ext>
            </a:extLst>
          </p:cNvPr>
          <p:cNvPicPr>
            <a:picLocks noChangeAspect="1"/>
          </p:cNvPicPr>
          <p:nvPr/>
        </p:nvPicPr>
        <p:blipFill>
          <a:blip r:embed="rId4"/>
          <a:stretch>
            <a:fillRect/>
          </a:stretch>
        </p:blipFill>
        <p:spPr>
          <a:xfrm>
            <a:off x="3516991" y="3545822"/>
            <a:ext cx="162249" cy="162249"/>
          </a:xfrm>
          <a:prstGeom prst="rect">
            <a:avLst/>
          </a:prstGeom>
        </p:spPr>
      </p:pic>
      <p:pic>
        <p:nvPicPr>
          <p:cNvPr id="55" name="Picture 54" descr="A close up of a logo&#10;&#10;Description automatically generated">
            <a:extLst>
              <a:ext uri="{FF2B5EF4-FFF2-40B4-BE49-F238E27FC236}">
                <a16:creationId xmlns:a16="http://schemas.microsoft.com/office/drawing/2014/main" id="{723F61E0-329A-40CA-A888-A3B3975E7094}"/>
              </a:ext>
            </a:extLst>
          </p:cNvPr>
          <p:cNvPicPr>
            <a:picLocks noChangeAspect="1"/>
          </p:cNvPicPr>
          <p:nvPr/>
        </p:nvPicPr>
        <p:blipFill>
          <a:blip r:embed="rId4"/>
          <a:stretch>
            <a:fillRect/>
          </a:stretch>
        </p:blipFill>
        <p:spPr>
          <a:xfrm>
            <a:off x="6325241" y="2782516"/>
            <a:ext cx="162249" cy="162249"/>
          </a:xfrm>
          <a:prstGeom prst="rect">
            <a:avLst/>
          </a:prstGeom>
        </p:spPr>
      </p:pic>
      <p:pic>
        <p:nvPicPr>
          <p:cNvPr id="56" name="Picture 55" descr="A close up of a logo&#10;&#10;Description automatically generated">
            <a:extLst>
              <a:ext uri="{FF2B5EF4-FFF2-40B4-BE49-F238E27FC236}">
                <a16:creationId xmlns:a16="http://schemas.microsoft.com/office/drawing/2014/main" id="{83DB70F0-EC25-444B-A4D7-CA85E05A3B7D}"/>
              </a:ext>
            </a:extLst>
          </p:cNvPr>
          <p:cNvPicPr>
            <a:picLocks noChangeAspect="1"/>
          </p:cNvPicPr>
          <p:nvPr/>
        </p:nvPicPr>
        <p:blipFill>
          <a:blip r:embed="rId4"/>
          <a:stretch>
            <a:fillRect/>
          </a:stretch>
        </p:blipFill>
        <p:spPr>
          <a:xfrm>
            <a:off x="6325241" y="2999758"/>
            <a:ext cx="162249" cy="162249"/>
          </a:xfrm>
          <a:prstGeom prst="rect">
            <a:avLst/>
          </a:prstGeom>
        </p:spPr>
      </p:pic>
      <p:pic>
        <p:nvPicPr>
          <p:cNvPr id="57" name="Picture 56" descr="A close up of a logo&#10;&#10;Description automatically generated">
            <a:extLst>
              <a:ext uri="{FF2B5EF4-FFF2-40B4-BE49-F238E27FC236}">
                <a16:creationId xmlns:a16="http://schemas.microsoft.com/office/drawing/2014/main" id="{A68004FF-E6F5-469E-89A3-A6B091C41B51}"/>
              </a:ext>
            </a:extLst>
          </p:cNvPr>
          <p:cNvPicPr>
            <a:picLocks noChangeAspect="1"/>
          </p:cNvPicPr>
          <p:nvPr/>
        </p:nvPicPr>
        <p:blipFill>
          <a:blip r:embed="rId4"/>
          <a:stretch>
            <a:fillRect/>
          </a:stretch>
        </p:blipFill>
        <p:spPr>
          <a:xfrm>
            <a:off x="6325241" y="3545822"/>
            <a:ext cx="162249" cy="162249"/>
          </a:xfrm>
          <a:prstGeom prst="rect">
            <a:avLst/>
          </a:prstGeom>
        </p:spPr>
      </p:pic>
      <p:pic>
        <p:nvPicPr>
          <p:cNvPr id="58" name="Picture 57" descr="A close up of a logo&#10;&#10;Description automatically generated">
            <a:extLst>
              <a:ext uri="{FF2B5EF4-FFF2-40B4-BE49-F238E27FC236}">
                <a16:creationId xmlns:a16="http://schemas.microsoft.com/office/drawing/2014/main" id="{3EBB64E8-FF40-4FB0-90A1-A28D021960EF}"/>
              </a:ext>
            </a:extLst>
          </p:cNvPr>
          <p:cNvPicPr>
            <a:picLocks noChangeAspect="1"/>
          </p:cNvPicPr>
          <p:nvPr/>
        </p:nvPicPr>
        <p:blipFill>
          <a:blip r:embed="rId4"/>
          <a:stretch>
            <a:fillRect/>
          </a:stretch>
        </p:blipFill>
        <p:spPr>
          <a:xfrm>
            <a:off x="3516991" y="1453576"/>
            <a:ext cx="162249" cy="162249"/>
          </a:xfrm>
          <a:prstGeom prst="rect">
            <a:avLst/>
          </a:prstGeom>
        </p:spPr>
      </p:pic>
      <p:pic>
        <p:nvPicPr>
          <p:cNvPr id="59" name="Picture 58" descr="A close up of a logo&#10;&#10;Description automatically generated">
            <a:extLst>
              <a:ext uri="{FF2B5EF4-FFF2-40B4-BE49-F238E27FC236}">
                <a16:creationId xmlns:a16="http://schemas.microsoft.com/office/drawing/2014/main" id="{9716577E-AFEB-4886-B0DE-4F609EEB290C}"/>
              </a:ext>
            </a:extLst>
          </p:cNvPr>
          <p:cNvPicPr>
            <a:picLocks noChangeAspect="1"/>
          </p:cNvPicPr>
          <p:nvPr/>
        </p:nvPicPr>
        <p:blipFill>
          <a:blip r:embed="rId4"/>
          <a:stretch>
            <a:fillRect/>
          </a:stretch>
        </p:blipFill>
        <p:spPr>
          <a:xfrm>
            <a:off x="3516991" y="1653721"/>
            <a:ext cx="162249" cy="162249"/>
          </a:xfrm>
          <a:prstGeom prst="rect">
            <a:avLst/>
          </a:prstGeom>
        </p:spPr>
      </p:pic>
      <p:sp>
        <p:nvSpPr>
          <p:cNvPr id="60" name="Rounded Rectangle 36">
            <a:extLst>
              <a:ext uri="{FF2B5EF4-FFF2-40B4-BE49-F238E27FC236}">
                <a16:creationId xmlns:a16="http://schemas.microsoft.com/office/drawing/2014/main" id="{BAD69EDE-9F2A-471E-A4F7-1FA2BB2F2EFE}"/>
              </a:ext>
            </a:extLst>
          </p:cNvPr>
          <p:cNvSpPr/>
          <p:nvPr/>
        </p:nvSpPr>
        <p:spPr>
          <a:xfrm>
            <a:off x="743750" y="2409328"/>
            <a:ext cx="10899177" cy="161980"/>
          </a:xfrm>
          <a:prstGeom prst="roundRect">
            <a:avLst>
              <a:gd name="adj" fmla="val 5913"/>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a:solidFill>
                  <a:schemeClr val="tx1"/>
                </a:solidFill>
              </a:rPr>
              <a:t>Kubra (Outage Comms)</a:t>
            </a:r>
          </a:p>
        </p:txBody>
      </p:sp>
      <p:pic>
        <p:nvPicPr>
          <p:cNvPr id="61" name="Picture 60" descr="A close up of a logo&#10;&#10;Description automatically generated">
            <a:extLst>
              <a:ext uri="{FF2B5EF4-FFF2-40B4-BE49-F238E27FC236}">
                <a16:creationId xmlns:a16="http://schemas.microsoft.com/office/drawing/2014/main" id="{FA503D7F-9A5E-4A5F-B0F1-8B2900AC65C9}"/>
              </a:ext>
            </a:extLst>
          </p:cNvPr>
          <p:cNvPicPr>
            <a:picLocks noChangeAspect="1"/>
          </p:cNvPicPr>
          <p:nvPr/>
        </p:nvPicPr>
        <p:blipFill>
          <a:blip r:embed="rId4"/>
          <a:stretch>
            <a:fillRect/>
          </a:stretch>
        </p:blipFill>
        <p:spPr>
          <a:xfrm>
            <a:off x="3516991" y="1850040"/>
            <a:ext cx="162249" cy="162249"/>
          </a:xfrm>
          <a:prstGeom prst="rect">
            <a:avLst/>
          </a:prstGeom>
        </p:spPr>
      </p:pic>
      <p:pic>
        <p:nvPicPr>
          <p:cNvPr id="62" name="Picture 61" descr="A close up of a logo&#10;&#10;Description automatically generated">
            <a:extLst>
              <a:ext uri="{FF2B5EF4-FFF2-40B4-BE49-F238E27FC236}">
                <a16:creationId xmlns:a16="http://schemas.microsoft.com/office/drawing/2014/main" id="{DA963ED7-D44A-41B7-BF21-339D5D4F9CAF}"/>
              </a:ext>
            </a:extLst>
          </p:cNvPr>
          <p:cNvPicPr>
            <a:picLocks noChangeAspect="1"/>
          </p:cNvPicPr>
          <p:nvPr/>
        </p:nvPicPr>
        <p:blipFill>
          <a:blip r:embed="rId4"/>
          <a:stretch>
            <a:fillRect/>
          </a:stretch>
        </p:blipFill>
        <p:spPr>
          <a:xfrm>
            <a:off x="3516991" y="2041324"/>
            <a:ext cx="162249" cy="162249"/>
          </a:xfrm>
          <a:prstGeom prst="rect">
            <a:avLst/>
          </a:prstGeom>
        </p:spPr>
      </p:pic>
      <p:pic>
        <p:nvPicPr>
          <p:cNvPr id="63" name="Picture 62" descr="A close up of a logo&#10;&#10;Description automatically generated">
            <a:extLst>
              <a:ext uri="{FF2B5EF4-FFF2-40B4-BE49-F238E27FC236}">
                <a16:creationId xmlns:a16="http://schemas.microsoft.com/office/drawing/2014/main" id="{0E4FDD74-E388-464B-80AA-6C68D891412D}"/>
              </a:ext>
            </a:extLst>
          </p:cNvPr>
          <p:cNvPicPr>
            <a:picLocks noChangeAspect="1"/>
          </p:cNvPicPr>
          <p:nvPr/>
        </p:nvPicPr>
        <p:blipFill>
          <a:blip r:embed="rId4"/>
          <a:stretch>
            <a:fillRect/>
          </a:stretch>
        </p:blipFill>
        <p:spPr>
          <a:xfrm>
            <a:off x="3516991" y="2235069"/>
            <a:ext cx="162249" cy="162249"/>
          </a:xfrm>
          <a:prstGeom prst="rect">
            <a:avLst/>
          </a:prstGeom>
          <a:solidFill>
            <a:schemeClr val="tx1">
              <a:lumMod val="20000"/>
              <a:lumOff val="80000"/>
            </a:schemeClr>
          </a:solidFill>
        </p:spPr>
      </p:pic>
      <p:pic>
        <p:nvPicPr>
          <p:cNvPr id="64" name="Picture 63" descr="A close up of a logo&#10;&#10;Description automatically generated">
            <a:extLst>
              <a:ext uri="{FF2B5EF4-FFF2-40B4-BE49-F238E27FC236}">
                <a16:creationId xmlns:a16="http://schemas.microsoft.com/office/drawing/2014/main" id="{48C17878-D495-445B-8295-E6A2F2175BB7}"/>
              </a:ext>
            </a:extLst>
          </p:cNvPr>
          <p:cNvPicPr>
            <a:picLocks noChangeAspect="1"/>
          </p:cNvPicPr>
          <p:nvPr/>
        </p:nvPicPr>
        <p:blipFill>
          <a:blip r:embed="rId4"/>
          <a:stretch>
            <a:fillRect/>
          </a:stretch>
        </p:blipFill>
        <p:spPr>
          <a:xfrm>
            <a:off x="3516991" y="2423183"/>
            <a:ext cx="162249" cy="162249"/>
          </a:xfrm>
          <a:prstGeom prst="rect">
            <a:avLst/>
          </a:prstGeom>
        </p:spPr>
      </p:pic>
      <p:pic>
        <p:nvPicPr>
          <p:cNvPr id="65" name="Picture 64" descr="A close up of a logo&#10;&#10;Description automatically generated">
            <a:extLst>
              <a:ext uri="{FF2B5EF4-FFF2-40B4-BE49-F238E27FC236}">
                <a16:creationId xmlns:a16="http://schemas.microsoft.com/office/drawing/2014/main" id="{8E1238F2-AEF4-4E55-85BF-739A4664EEF3}"/>
              </a:ext>
            </a:extLst>
          </p:cNvPr>
          <p:cNvPicPr>
            <a:picLocks noChangeAspect="1"/>
          </p:cNvPicPr>
          <p:nvPr/>
        </p:nvPicPr>
        <p:blipFill>
          <a:blip r:embed="rId4"/>
          <a:stretch>
            <a:fillRect/>
          </a:stretch>
        </p:blipFill>
        <p:spPr>
          <a:xfrm>
            <a:off x="3516991" y="2979426"/>
            <a:ext cx="162249" cy="162249"/>
          </a:xfrm>
          <a:prstGeom prst="rect">
            <a:avLst/>
          </a:prstGeom>
        </p:spPr>
      </p:pic>
      <p:pic>
        <p:nvPicPr>
          <p:cNvPr id="66" name="Picture 65" descr="A close up of a logo&#10;&#10;Description automatically generated">
            <a:extLst>
              <a:ext uri="{FF2B5EF4-FFF2-40B4-BE49-F238E27FC236}">
                <a16:creationId xmlns:a16="http://schemas.microsoft.com/office/drawing/2014/main" id="{211FCF8D-7FC9-451D-8D3B-C00FAB7EE556}"/>
              </a:ext>
            </a:extLst>
          </p:cNvPr>
          <p:cNvPicPr>
            <a:picLocks noChangeAspect="1"/>
          </p:cNvPicPr>
          <p:nvPr/>
        </p:nvPicPr>
        <p:blipFill>
          <a:blip r:embed="rId3"/>
          <a:stretch>
            <a:fillRect/>
          </a:stretch>
        </p:blipFill>
        <p:spPr>
          <a:xfrm>
            <a:off x="11277998" y="4655942"/>
            <a:ext cx="253185" cy="253185"/>
          </a:xfrm>
          <a:prstGeom prst="rect">
            <a:avLst/>
          </a:prstGeom>
        </p:spPr>
      </p:pic>
      <p:pic>
        <p:nvPicPr>
          <p:cNvPr id="67" name="Picture 66" descr="A close up of a logo&#10;&#10;Description automatically generated">
            <a:extLst>
              <a:ext uri="{FF2B5EF4-FFF2-40B4-BE49-F238E27FC236}">
                <a16:creationId xmlns:a16="http://schemas.microsoft.com/office/drawing/2014/main" id="{1C95B8E8-A9C3-469E-B025-A69B55E06451}"/>
              </a:ext>
            </a:extLst>
          </p:cNvPr>
          <p:cNvPicPr>
            <a:picLocks noChangeAspect="1"/>
          </p:cNvPicPr>
          <p:nvPr/>
        </p:nvPicPr>
        <p:blipFill>
          <a:blip r:embed="rId4"/>
          <a:stretch>
            <a:fillRect/>
          </a:stretch>
        </p:blipFill>
        <p:spPr>
          <a:xfrm>
            <a:off x="2748878" y="3165167"/>
            <a:ext cx="162249" cy="162249"/>
          </a:xfrm>
          <a:prstGeom prst="rect">
            <a:avLst/>
          </a:prstGeom>
          <a:solidFill>
            <a:schemeClr val="tx1"/>
          </a:solidFill>
        </p:spPr>
      </p:pic>
      <p:pic>
        <p:nvPicPr>
          <p:cNvPr id="68" name="Picture 67" descr="A close up of a logo&#10;&#10;Description automatically generated">
            <a:extLst>
              <a:ext uri="{FF2B5EF4-FFF2-40B4-BE49-F238E27FC236}">
                <a16:creationId xmlns:a16="http://schemas.microsoft.com/office/drawing/2014/main" id="{B1DDC0AA-C291-4CFF-B99A-0D9E822EE9AE}"/>
              </a:ext>
            </a:extLst>
          </p:cNvPr>
          <p:cNvPicPr>
            <a:picLocks noChangeAspect="1"/>
          </p:cNvPicPr>
          <p:nvPr/>
        </p:nvPicPr>
        <p:blipFill>
          <a:blip r:embed="rId4"/>
          <a:stretch>
            <a:fillRect/>
          </a:stretch>
        </p:blipFill>
        <p:spPr>
          <a:xfrm>
            <a:off x="2748878" y="3362405"/>
            <a:ext cx="162249" cy="162249"/>
          </a:xfrm>
          <a:prstGeom prst="rect">
            <a:avLst/>
          </a:prstGeom>
          <a:solidFill>
            <a:schemeClr val="tx1"/>
          </a:solidFill>
        </p:spPr>
      </p:pic>
      <p:pic>
        <p:nvPicPr>
          <p:cNvPr id="69" name="Picture 68" descr="A close up of a logo&#10;&#10;Description automatically generated">
            <a:extLst>
              <a:ext uri="{FF2B5EF4-FFF2-40B4-BE49-F238E27FC236}">
                <a16:creationId xmlns:a16="http://schemas.microsoft.com/office/drawing/2014/main" id="{BAE54C90-D8F6-43DB-9C12-B4349BB7F9E9}"/>
              </a:ext>
            </a:extLst>
          </p:cNvPr>
          <p:cNvPicPr>
            <a:picLocks noChangeAspect="1"/>
          </p:cNvPicPr>
          <p:nvPr/>
        </p:nvPicPr>
        <p:blipFill>
          <a:blip r:embed="rId4"/>
          <a:stretch>
            <a:fillRect/>
          </a:stretch>
        </p:blipFill>
        <p:spPr>
          <a:xfrm>
            <a:off x="2748878" y="2782516"/>
            <a:ext cx="162249" cy="162249"/>
          </a:xfrm>
          <a:prstGeom prst="rect">
            <a:avLst/>
          </a:prstGeom>
          <a:solidFill>
            <a:schemeClr val="tx1"/>
          </a:solidFill>
        </p:spPr>
      </p:pic>
      <p:pic>
        <p:nvPicPr>
          <p:cNvPr id="70" name="Picture 69" descr="A close up of a logo&#10;&#10;Description automatically generated">
            <a:extLst>
              <a:ext uri="{FF2B5EF4-FFF2-40B4-BE49-F238E27FC236}">
                <a16:creationId xmlns:a16="http://schemas.microsoft.com/office/drawing/2014/main" id="{10BA996B-4FF0-4009-B5D4-B89ABA3C00F7}"/>
              </a:ext>
            </a:extLst>
          </p:cNvPr>
          <p:cNvPicPr>
            <a:picLocks noChangeAspect="1"/>
          </p:cNvPicPr>
          <p:nvPr/>
        </p:nvPicPr>
        <p:blipFill>
          <a:blip r:embed="rId4"/>
          <a:stretch>
            <a:fillRect/>
          </a:stretch>
        </p:blipFill>
        <p:spPr>
          <a:xfrm>
            <a:off x="2751186" y="3547000"/>
            <a:ext cx="162249" cy="162249"/>
          </a:xfrm>
          <a:prstGeom prst="rect">
            <a:avLst/>
          </a:prstGeom>
          <a:solidFill>
            <a:schemeClr val="tx1"/>
          </a:solidFill>
        </p:spPr>
      </p:pic>
      <p:pic>
        <p:nvPicPr>
          <p:cNvPr id="71" name="Picture 70" descr="A close up of a logo&#10;&#10;Description automatically generated">
            <a:extLst>
              <a:ext uri="{FF2B5EF4-FFF2-40B4-BE49-F238E27FC236}">
                <a16:creationId xmlns:a16="http://schemas.microsoft.com/office/drawing/2014/main" id="{88F8EB07-0B7F-44E9-8C72-7F05BB8EA5B3}"/>
              </a:ext>
            </a:extLst>
          </p:cNvPr>
          <p:cNvPicPr>
            <a:picLocks noChangeAspect="1"/>
          </p:cNvPicPr>
          <p:nvPr/>
        </p:nvPicPr>
        <p:blipFill>
          <a:blip r:embed="rId4"/>
          <a:stretch>
            <a:fillRect/>
          </a:stretch>
        </p:blipFill>
        <p:spPr>
          <a:xfrm>
            <a:off x="2748878" y="1453576"/>
            <a:ext cx="162249" cy="162249"/>
          </a:xfrm>
          <a:prstGeom prst="rect">
            <a:avLst/>
          </a:prstGeom>
          <a:solidFill>
            <a:schemeClr val="tx1"/>
          </a:solidFill>
        </p:spPr>
      </p:pic>
      <p:pic>
        <p:nvPicPr>
          <p:cNvPr id="72" name="Picture 71" descr="A close up of a logo&#10;&#10;Description automatically generated">
            <a:extLst>
              <a:ext uri="{FF2B5EF4-FFF2-40B4-BE49-F238E27FC236}">
                <a16:creationId xmlns:a16="http://schemas.microsoft.com/office/drawing/2014/main" id="{2AFEDC12-42BA-4D3C-8CE9-8CFF30FC5E68}"/>
              </a:ext>
            </a:extLst>
          </p:cNvPr>
          <p:cNvPicPr>
            <a:picLocks noChangeAspect="1"/>
          </p:cNvPicPr>
          <p:nvPr/>
        </p:nvPicPr>
        <p:blipFill>
          <a:blip r:embed="rId4"/>
          <a:stretch>
            <a:fillRect/>
          </a:stretch>
        </p:blipFill>
        <p:spPr>
          <a:xfrm>
            <a:off x="2748878" y="1653721"/>
            <a:ext cx="162249" cy="162249"/>
          </a:xfrm>
          <a:prstGeom prst="rect">
            <a:avLst/>
          </a:prstGeom>
          <a:solidFill>
            <a:schemeClr val="tx1"/>
          </a:solidFill>
        </p:spPr>
      </p:pic>
      <p:pic>
        <p:nvPicPr>
          <p:cNvPr id="73" name="Picture 72" descr="A close up of a logo&#10;&#10;Description automatically generated">
            <a:extLst>
              <a:ext uri="{FF2B5EF4-FFF2-40B4-BE49-F238E27FC236}">
                <a16:creationId xmlns:a16="http://schemas.microsoft.com/office/drawing/2014/main" id="{2DA804A8-5F3B-40B1-B03F-FCEDE50C01E5}"/>
              </a:ext>
            </a:extLst>
          </p:cNvPr>
          <p:cNvPicPr>
            <a:picLocks noChangeAspect="1"/>
          </p:cNvPicPr>
          <p:nvPr/>
        </p:nvPicPr>
        <p:blipFill>
          <a:blip r:embed="rId4"/>
          <a:stretch>
            <a:fillRect/>
          </a:stretch>
        </p:blipFill>
        <p:spPr>
          <a:xfrm>
            <a:off x="2748878" y="1850040"/>
            <a:ext cx="162249" cy="162249"/>
          </a:xfrm>
          <a:prstGeom prst="rect">
            <a:avLst/>
          </a:prstGeom>
          <a:solidFill>
            <a:schemeClr val="tx1"/>
          </a:solidFill>
        </p:spPr>
      </p:pic>
      <p:pic>
        <p:nvPicPr>
          <p:cNvPr id="74" name="Picture 73" descr="A close up of a logo&#10;&#10;Description automatically generated">
            <a:extLst>
              <a:ext uri="{FF2B5EF4-FFF2-40B4-BE49-F238E27FC236}">
                <a16:creationId xmlns:a16="http://schemas.microsoft.com/office/drawing/2014/main" id="{96930CF3-F05F-4DD6-AB74-BFB736FD572A}"/>
              </a:ext>
            </a:extLst>
          </p:cNvPr>
          <p:cNvPicPr>
            <a:picLocks noChangeAspect="1"/>
          </p:cNvPicPr>
          <p:nvPr/>
        </p:nvPicPr>
        <p:blipFill>
          <a:blip r:embed="rId4"/>
          <a:stretch>
            <a:fillRect/>
          </a:stretch>
        </p:blipFill>
        <p:spPr>
          <a:xfrm>
            <a:off x="2748878" y="2041324"/>
            <a:ext cx="162249" cy="162249"/>
          </a:xfrm>
          <a:prstGeom prst="rect">
            <a:avLst/>
          </a:prstGeom>
          <a:solidFill>
            <a:schemeClr val="tx1"/>
          </a:solidFill>
        </p:spPr>
      </p:pic>
      <p:pic>
        <p:nvPicPr>
          <p:cNvPr id="75" name="Picture 74" descr="A close up of a logo&#10;&#10;Description automatically generated">
            <a:extLst>
              <a:ext uri="{FF2B5EF4-FFF2-40B4-BE49-F238E27FC236}">
                <a16:creationId xmlns:a16="http://schemas.microsoft.com/office/drawing/2014/main" id="{20507B2F-8F87-4765-8057-53A7202939B4}"/>
              </a:ext>
            </a:extLst>
          </p:cNvPr>
          <p:cNvPicPr>
            <a:picLocks noChangeAspect="1"/>
          </p:cNvPicPr>
          <p:nvPr/>
        </p:nvPicPr>
        <p:blipFill>
          <a:blip r:embed="rId4"/>
          <a:stretch>
            <a:fillRect/>
          </a:stretch>
        </p:blipFill>
        <p:spPr>
          <a:xfrm>
            <a:off x="2748878" y="2224515"/>
            <a:ext cx="162249" cy="162249"/>
          </a:xfrm>
          <a:prstGeom prst="rect">
            <a:avLst/>
          </a:prstGeom>
          <a:solidFill>
            <a:schemeClr val="tx1"/>
          </a:solidFill>
        </p:spPr>
      </p:pic>
      <p:pic>
        <p:nvPicPr>
          <p:cNvPr id="76" name="Picture 75" descr="A close up of a logo&#10;&#10;Description automatically generated">
            <a:extLst>
              <a:ext uri="{FF2B5EF4-FFF2-40B4-BE49-F238E27FC236}">
                <a16:creationId xmlns:a16="http://schemas.microsoft.com/office/drawing/2014/main" id="{00299734-9CEE-49C8-AAFE-3734C3DCC764}"/>
              </a:ext>
            </a:extLst>
          </p:cNvPr>
          <p:cNvPicPr>
            <a:picLocks noChangeAspect="1"/>
          </p:cNvPicPr>
          <p:nvPr/>
        </p:nvPicPr>
        <p:blipFill>
          <a:blip r:embed="rId4"/>
          <a:stretch>
            <a:fillRect/>
          </a:stretch>
        </p:blipFill>
        <p:spPr>
          <a:xfrm>
            <a:off x="2748878" y="2428531"/>
            <a:ext cx="162249" cy="162249"/>
          </a:xfrm>
          <a:prstGeom prst="rect">
            <a:avLst/>
          </a:prstGeom>
          <a:solidFill>
            <a:schemeClr val="tx1"/>
          </a:solidFill>
        </p:spPr>
      </p:pic>
      <p:pic>
        <p:nvPicPr>
          <p:cNvPr id="77" name="Picture 76" descr="A close up of a logo&#10;&#10;Description automatically generated">
            <a:extLst>
              <a:ext uri="{FF2B5EF4-FFF2-40B4-BE49-F238E27FC236}">
                <a16:creationId xmlns:a16="http://schemas.microsoft.com/office/drawing/2014/main" id="{573C1E41-83A8-4B70-8A05-4D57122E1D2B}"/>
              </a:ext>
            </a:extLst>
          </p:cNvPr>
          <p:cNvPicPr>
            <a:picLocks noChangeAspect="1"/>
          </p:cNvPicPr>
          <p:nvPr/>
        </p:nvPicPr>
        <p:blipFill>
          <a:blip r:embed="rId4"/>
          <a:stretch>
            <a:fillRect/>
          </a:stretch>
        </p:blipFill>
        <p:spPr>
          <a:xfrm>
            <a:off x="2748878" y="2968872"/>
            <a:ext cx="162249" cy="162249"/>
          </a:xfrm>
          <a:prstGeom prst="rect">
            <a:avLst/>
          </a:prstGeom>
          <a:solidFill>
            <a:schemeClr val="tx1"/>
          </a:solidFill>
        </p:spPr>
      </p:pic>
      <p:pic>
        <p:nvPicPr>
          <p:cNvPr id="78" name="Picture 77" descr="A close up of a logo&#10;&#10;Description automatically generated">
            <a:extLst>
              <a:ext uri="{FF2B5EF4-FFF2-40B4-BE49-F238E27FC236}">
                <a16:creationId xmlns:a16="http://schemas.microsoft.com/office/drawing/2014/main" id="{C5ECC3C1-E51C-4436-B711-A076AC49DE64}"/>
              </a:ext>
            </a:extLst>
          </p:cNvPr>
          <p:cNvPicPr>
            <a:picLocks noChangeAspect="1"/>
          </p:cNvPicPr>
          <p:nvPr/>
        </p:nvPicPr>
        <p:blipFill>
          <a:blip r:embed="rId4"/>
          <a:stretch>
            <a:fillRect/>
          </a:stretch>
        </p:blipFill>
        <p:spPr>
          <a:xfrm>
            <a:off x="4556473" y="2223851"/>
            <a:ext cx="162249" cy="162249"/>
          </a:xfrm>
          <a:prstGeom prst="rect">
            <a:avLst/>
          </a:prstGeom>
          <a:solidFill>
            <a:schemeClr val="tx1">
              <a:lumMod val="20000"/>
              <a:lumOff val="80000"/>
            </a:schemeClr>
          </a:solidFill>
        </p:spPr>
      </p:pic>
      <p:pic>
        <p:nvPicPr>
          <p:cNvPr id="79" name="Picture 78" descr="A close up of a logo&#10;&#10;Description automatically generated">
            <a:extLst>
              <a:ext uri="{FF2B5EF4-FFF2-40B4-BE49-F238E27FC236}">
                <a16:creationId xmlns:a16="http://schemas.microsoft.com/office/drawing/2014/main" id="{70DE9623-970B-49BA-92B4-52C9BB0A56D9}"/>
              </a:ext>
            </a:extLst>
          </p:cNvPr>
          <p:cNvPicPr>
            <a:picLocks noChangeAspect="1"/>
          </p:cNvPicPr>
          <p:nvPr/>
        </p:nvPicPr>
        <p:blipFill>
          <a:blip r:embed="rId4"/>
          <a:stretch>
            <a:fillRect/>
          </a:stretch>
        </p:blipFill>
        <p:spPr>
          <a:xfrm>
            <a:off x="4556473" y="3165167"/>
            <a:ext cx="162249" cy="162249"/>
          </a:xfrm>
          <a:prstGeom prst="rect">
            <a:avLst/>
          </a:prstGeom>
        </p:spPr>
      </p:pic>
      <p:pic>
        <p:nvPicPr>
          <p:cNvPr id="80" name="Picture 79" descr="A close up of a logo&#10;&#10;Description automatically generated">
            <a:extLst>
              <a:ext uri="{FF2B5EF4-FFF2-40B4-BE49-F238E27FC236}">
                <a16:creationId xmlns:a16="http://schemas.microsoft.com/office/drawing/2014/main" id="{40967FCD-1135-49B1-9E96-05A15758ECB0}"/>
              </a:ext>
            </a:extLst>
          </p:cNvPr>
          <p:cNvPicPr>
            <a:picLocks noChangeAspect="1"/>
          </p:cNvPicPr>
          <p:nvPr/>
        </p:nvPicPr>
        <p:blipFill>
          <a:blip r:embed="rId4"/>
          <a:stretch>
            <a:fillRect/>
          </a:stretch>
        </p:blipFill>
        <p:spPr>
          <a:xfrm>
            <a:off x="4556473" y="3362405"/>
            <a:ext cx="162249" cy="162249"/>
          </a:xfrm>
          <a:prstGeom prst="rect">
            <a:avLst/>
          </a:prstGeom>
        </p:spPr>
      </p:pic>
      <p:pic>
        <p:nvPicPr>
          <p:cNvPr id="81" name="Picture 80" descr="A close up of a logo&#10;&#10;Description automatically generated">
            <a:extLst>
              <a:ext uri="{FF2B5EF4-FFF2-40B4-BE49-F238E27FC236}">
                <a16:creationId xmlns:a16="http://schemas.microsoft.com/office/drawing/2014/main" id="{0098F8DC-9B76-4A44-B6CD-C71A5E917EFC}"/>
              </a:ext>
            </a:extLst>
          </p:cNvPr>
          <p:cNvPicPr>
            <a:picLocks noChangeAspect="1"/>
          </p:cNvPicPr>
          <p:nvPr/>
        </p:nvPicPr>
        <p:blipFill>
          <a:blip r:embed="rId4"/>
          <a:stretch>
            <a:fillRect/>
          </a:stretch>
        </p:blipFill>
        <p:spPr>
          <a:xfrm>
            <a:off x="5467457" y="3165167"/>
            <a:ext cx="162249" cy="162249"/>
          </a:xfrm>
          <a:prstGeom prst="rect">
            <a:avLst/>
          </a:prstGeom>
        </p:spPr>
      </p:pic>
      <p:pic>
        <p:nvPicPr>
          <p:cNvPr id="82" name="Picture 81" descr="A close up of a logo&#10;&#10;Description automatically generated">
            <a:extLst>
              <a:ext uri="{FF2B5EF4-FFF2-40B4-BE49-F238E27FC236}">
                <a16:creationId xmlns:a16="http://schemas.microsoft.com/office/drawing/2014/main" id="{75052325-E4F2-43E6-9AD0-8D519541EC1A}"/>
              </a:ext>
            </a:extLst>
          </p:cNvPr>
          <p:cNvPicPr>
            <a:picLocks noChangeAspect="1"/>
          </p:cNvPicPr>
          <p:nvPr/>
        </p:nvPicPr>
        <p:blipFill>
          <a:blip r:embed="rId4"/>
          <a:stretch>
            <a:fillRect/>
          </a:stretch>
        </p:blipFill>
        <p:spPr>
          <a:xfrm>
            <a:off x="5467457" y="3362405"/>
            <a:ext cx="162249" cy="162249"/>
          </a:xfrm>
          <a:prstGeom prst="rect">
            <a:avLst/>
          </a:prstGeom>
        </p:spPr>
      </p:pic>
      <p:pic>
        <p:nvPicPr>
          <p:cNvPr id="83" name="Picture 82" descr="A close up of a logo&#10;&#10;Description automatically generated">
            <a:extLst>
              <a:ext uri="{FF2B5EF4-FFF2-40B4-BE49-F238E27FC236}">
                <a16:creationId xmlns:a16="http://schemas.microsoft.com/office/drawing/2014/main" id="{D42C416F-F3E2-4222-92FF-AEA8817CDF5D}"/>
              </a:ext>
            </a:extLst>
          </p:cNvPr>
          <p:cNvPicPr>
            <a:picLocks noChangeAspect="1"/>
          </p:cNvPicPr>
          <p:nvPr/>
        </p:nvPicPr>
        <p:blipFill>
          <a:blip r:embed="rId4"/>
          <a:stretch>
            <a:fillRect/>
          </a:stretch>
        </p:blipFill>
        <p:spPr>
          <a:xfrm>
            <a:off x="6325241" y="3165167"/>
            <a:ext cx="162249" cy="162249"/>
          </a:xfrm>
          <a:prstGeom prst="rect">
            <a:avLst/>
          </a:prstGeom>
        </p:spPr>
      </p:pic>
      <p:pic>
        <p:nvPicPr>
          <p:cNvPr id="84" name="Picture 83" descr="A close up of a logo&#10;&#10;Description automatically generated">
            <a:extLst>
              <a:ext uri="{FF2B5EF4-FFF2-40B4-BE49-F238E27FC236}">
                <a16:creationId xmlns:a16="http://schemas.microsoft.com/office/drawing/2014/main" id="{4319469A-8CE4-4B2D-B6B4-B358647AABB2}"/>
              </a:ext>
            </a:extLst>
          </p:cNvPr>
          <p:cNvPicPr>
            <a:picLocks noChangeAspect="1"/>
          </p:cNvPicPr>
          <p:nvPr/>
        </p:nvPicPr>
        <p:blipFill>
          <a:blip r:embed="rId4"/>
          <a:stretch>
            <a:fillRect/>
          </a:stretch>
        </p:blipFill>
        <p:spPr>
          <a:xfrm>
            <a:off x="6325241" y="3362405"/>
            <a:ext cx="162249" cy="162249"/>
          </a:xfrm>
          <a:prstGeom prst="rect">
            <a:avLst/>
          </a:prstGeom>
        </p:spPr>
      </p:pic>
      <p:pic>
        <p:nvPicPr>
          <p:cNvPr id="85" name="Picture 84" descr="A close up of a logo&#10;&#10;Description automatically generated">
            <a:extLst>
              <a:ext uri="{FF2B5EF4-FFF2-40B4-BE49-F238E27FC236}">
                <a16:creationId xmlns:a16="http://schemas.microsoft.com/office/drawing/2014/main" id="{C89CD811-EE99-437F-AA32-60D5456E961E}"/>
              </a:ext>
            </a:extLst>
          </p:cNvPr>
          <p:cNvPicPr>
            <a:picLocks noChangeAspect="1"/>
          </p:cNvPicPr>
          <p:nvPr/>
        </p:nvPicPr>
        <p:blipFill>
          <a:blip r:embed="rId4"/>
          <a:stretch>
            <a:fillRect/>
          </a:stretch>
        </p:blipFill>
        <p:spPr>
          <a:xfrm>
            <a:off x="6330636" y="2587940"/>
            <a:ext cx="162249" cy="162249"/>
          </a:xfrm>
          <a:prstGeom prst="rect">
            <a:avLst/>
          </a:prstGeom>
        </p:spPr>
      </p:pic>
      <p:pic>
        <p:nvPicPr>
          <p:cNvPr id="86" name="Picture 85" descr="A close up of a logo&#10;&#10;Description automatically generated">
            <a:extLst>
              <a:ext uri="{FF2B5EF4-FFF2-40B4-BE49-F238E27FC236}">
                <a16:creationId xmlns:a16="http://schemas.microsoft.com/office/drawing/2014/main" id="{E9086053-E8A1-48FA-A15B-FCF2E5D05E07}"/>
              </a:ext>
            </a:extLst>
          </p:cNvPr>
          <p:cNvPicPr>
            <a:picLocks noChangeAspect="1"/>
          </p:cNvPicPr>
          <p:nvPr/>
        </p:nvPicPr>
        <p:blipFill>
          <a:blip r:embed="rId4"/>
          <a:stretch>
            <a:fillRect/>
          </a:stretch>
        </p:blipFill>
        <p:spPr>
          <a:xfrm>
            <a:off x="6325241" y="1850040"/>
            <a:ext cx="162249" cy="162249"/>
          </a:xfrm>
          <a:prstGeom prst="rect">
            <a:avLst/>
          </a:prstGeom>
        </p:spPr>
      </p:pic>
      <p:pic>
        <p:nvPicPr>
          <p:cNvPr id="87" name="Picture 86" descr="A close up of a logo&#10;&#10;Description automatically generated">
            <a:extLst>
              <a:ext uri="{FF2B5EF4-FFF2-40B4-BE49-F238E27FC236}">
                <a16:creationId xmlns:a16="http://schemas.microsoft.com/office/drawing/2014/main" id="{886E4473-7647-43DC-BE4C-DB3EF820774B}"/>
              </a:ext>
            </a:extLst>
          </p:cNvPr>
          <p:cNvPicPr>
            <a:picLocks noChangeAspect="1"/>
          </p:cNvPicPr>
          <p:nvPr/>
        </p:nvPicPr>
        <p:blipFill>
          <a:blip r:embed="rId3"/>
          <a:stretch>
            <a:fillRect/>
          </a:stretch>
        </p:blipFill>
        <p:spPr>
          <a:xfrm>
            <a:off x="7075463" y="3307325"/>
            <a:ext cx="253185" cy="253185"/>
          </a:xfrm>
          <a:prstGeom prst="rect">
            <a:avLst/>
          </a:prstGeom>
        </p:spPr>
      </p:pic>
      <p:sp>
        <p:nvSpPr>
          <p:cNvPr id="88" name="Rounded Rectangle 36">
            <a:extLst>
              <a:ext uri="{FF2B5EF4-FFF2-40B4-BE49-F238E27FC236}">
                <a16:creationId xmlns:a16="http://schemas.microsoft.com/office/drawing/2014/main" id="{DBC35F45-3C33-480C-8AEA-327BAEA44360}"/>
              </a:ext>
            </a:extLst>
          </p:cNvPr>
          <p:cNvSpPr/>
          <p:nvPr/>
        </p:nvSpPr>
        <p:spPr>
          <a:xfrm>
            <a:off x="733195" y="5163811"/>
            <a:ext cx="10905600" cy="161980"/>
          </a:xfrm>
          <a:prstGeom prst="roundRect">
            <a:avLst>
              <a:gd name="adj" fmla="val 5913"/>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dirty="0">
                <a:solidFill>
                  <a:schemeClr val="tx1"/>
                </a:solidFill>
              </a:rPr>
              <a:t>CIAP</a:t>
            </a:r>
          </a:p>
        </p:txBody>
      </p:sp>
      <p:sp>
        <p:nvSpPr>
          <p:cNvPr id="89" name="Rounded Rectangle 36">
            <a:extLst>
              <a:ext uri="{FF2B5EF4-FFF2-40B4-BE49-F238E27FC236}">
                <a16:creationId xmlns:a16="http://schemas.microsoft.com/office/drawing/2014/main" id="{F50ACD4A-DA34-40AF-81C2-6D6E2790D4E1}"/>
              </a:ext>
            </a:extLst>
          </p:cNvPr>
          <p:cNvSpPr/>
          <p:nvPr/>
        </p:nvSpPr>
        <p:spPr>
          <a:xfrm>
            <a:off x="732537" y="5353977"/>
            <a:ext cx="10905600" cy="161980"/>
          </a:xfrm>
          <a:prstGeom prst="roundRect">
            <a:avLst>
              <a:gd name="adj" fmla="val 5913"/>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a:solidFill>
                  <a:schemeClr val="tx1"/>
                </a:solidFill>
              </a:rPr>
              <a:t>ADA</a:t>
            </a:r>
          </a:p>
        </p:txBody>
      </p:sp>
      <p:sp>
        <p:nvSpPr>
          <p:cNvPr id="90" name="Rounded Rectangle 36">
            <a:extLst>
              <a:ext uri="{FF2B5EF4-FFF2-40B4-BE49-F238E27FC236}">
                <a16:creationId xmlns:a16="http://schemas.microsoft.com/office/drawing/2014/main" id="{978B0A1F-9E5E-48F8-B7B2-D219D16AC6D5}"/>
              </a:ext>
            </a:extLst>
          </p:cNvPr>
          <p:cNvSpPr/>
          <p:nvPr/>
        </p:nvSpPr>
        <p:spPr>
          <a:xfrm>
            <a:off x="724737" y="5548318"/>
            <a:ext cx="10905600" cy="161980"/>
          </a:xfrm>
          <a:prstGeom prst="roundRect">
            <a:avLst>
              <a:gd name="adj" fmla="val 5913"/>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a:solidFill>
                  <a:schemeClr val="tx1"/>
                </a:solidFill>
              </a:rPr>
              <a:t>CDI</a:t>
            </a:r>
          </a:p>
        </p:txBody>
      </p:sp>
      <p:sp>
        <p:nvSpPr>
          <p:cNvPr id="91" name="TextBox 90">
            <a:extLst>
              <a:ext uri="{FF2B5EF4-FFF2-40B4-BE49-F238E27FC236}">
                <a16:creationId xmlns:a16="http://schemas.microsoft.com/office/drawing/2014/main" id="{72B00154-CEC8-4540-B424-56792DE616C8}"/>
              </a:ext>
            </a:extLst>
          </p:cNvPr>
          <p:cNvSpPr txBox="1"/>
          <p:nvPr/>
        </p:nvSpPr>
        <p:spPr bwMode="auto">
          <a:xfrm>
            <a:off x="6620505" y="2587061"/>
            <a:ext cx="275717"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l">
              <a:spcAft>
                <a:spcPts val="600"/>
              </a:spcAft>
              <a:buClr>
                <a:schemeClr val="tx1"/>
              </a:buClr>
            </a:pPr>
            <a:r>
              <a:rPr lang="en-US" sz="900" kern="0"/>
              <a:t>email</a:t>
            </a:r>
            <a:endParaRPr lang="en-US" sz="900" b="0" kern="0">
              <a:solidFill>
                <a:schemeClr val="tx1"/>
              </a:solidFill>
            </a:endParaRPr>
          </a:p>
        </p:txBody>
      </p:sp>
      <p:pic>
        <p:nvPicPr>
          <p:cNvPr id="92" name="Picture 91" descr="A close up of a logo&#10;&#10;Description automatically generated">
            <a:extLst>
              <a:ext uri="{FF2B5EF4-FFF2-40B4-BE49-F238E27FC236}">
                <a16:creationId xmlns:a16="http://schemas.microsoft.com/office/drawing/2014/main" id="{88F4D9B1-0638-4D6D-8001-85B647420C09}"/>
              </a:ext>
            </a:extLst>
          </p:cNvPr>
          <p:cNvPicPr>
            <a:picLocks noChangeAspect="1"/>
          </p:cNvPicPr>
          <p:nvPr/>
        </p:nvPicPr>
        <p:blipFill>
          <a:blip r:embed="rId4"/>
          <a:stretch>
            <a:fillRect/>
          </a:stretch>
        </p:blipFill>
        <p:spPr>
          <a:xfrm>
            <a:off x="7153776" y="2044896"/>
            <a:ext cx="162249" cy="162249"/>
          </a:xfrm>
          <a:prstGeom prst="rect">
            <a:avLst/>
          </a:prstGeom>
        </p:spPr>
      </p:pic>
      <p:pic>
        <p:nvPicPr>
          <p:cNvPr id="93" name="Picture 92" descr="A close up of a logo&#10;&#10;Description automatically generated">
            <a:extLst>
              <a:ext uri="{FF2B5EF4-FFF2-40B4-BE49-F238E27FC236}">
                <a16:creationId xmlns:a16="http://schemas.microsoft.com/office/drawing/2014/main" id="{5393D904-8D7E-435D-8061-40C3AC9FE1DB}"/>
              </a:ext>
            </a:extLst>
          </p:cNvPr>
          <p:cNvPicPr>
            <a:picLocks noChangeAspect="1"/>
          </p:cNvPicPr>
          <p:nvPr/>
        </p:nvPicPr>
        <p:blipFill>
          <a:blip r:embed="rId4"/>
          <a:stretch>
            <a:fillRect/>
          </a:stretch>
        </p:blipFill>
        <p:spPr>
          <a:xfrm>
            <a:off x="7120290" y="3164441"/>
            <a:ext cx="162249" cy="162249"/>
          </a:xfrm>
          <a:prstGeom prst="rect">
            <a:avLst/>
          </a:prstGeom>
          <a:solidFill>
            <a:schemeClr val="tx1"/>
          </a:solidFill>
        </p:spPr>
      </p:pic>
      <p:pic>
        <p:nvPicPr>
          <p:cNvPr id="94" name="Picture 93" descr="A close up of a logo&#10;&#10;Description automatically generated">
            <a:extLst>
              <a:ext uri="{FF2B5EF4-FFF2-40B4-BE49-F238E27FC236}">
                <a16:creationId xmlns:a16="http://schemas.microsoft.com/office/drawing/2014/main" id="{8F2DBFE4-4787-4031-93DA-03F419869BDE}"/>
              </a:ext>
            </a:extLst>
          </p:cNvPr>
          <p:cNvPicPr>
            <a:picLocks noChangeAspect="1"/>
          </p:cNvPicPr>
          <p:nvPr/>
        </p:nvPicPr>
        <p:blipFill>
          <a:blip r:embed="rId4"/>
          <a:stretch>
            <a:fillRect/>
          </a:stretch>
        </p:blipFill>
        <p:spPr>
          <a:xfrm>
            <a:off x="8445813" y="3165167"/>
            <a:ext cx="162249" cy="162249"/>
          </a:xfrm>
          <a:prstGeom prst="rect">
            <a:avLst/>
          </a:prstGeom>
        </p:spPr>
      </p:pic>
      <p:pic>
        <p:nvPicPr>
          <p:cNvPr id="95" name="Picture 94" descr="A close up of a logo&#10;&#10;Description automatically generated">
            <a:extLst>
              <a:ext uri="{FF2B5EF4-FFF2-40B4-BE49-F238E27FC236}">
                <a16:creationId xmlns:a16="http://schemas.microsoft.com/office/drawing/2014/main" id="{D1AB0EDE-4B24-4739-83A2-E9EF8BD3476F}"/>
              </a:ext>
            </a:extLst>
          </p:cNvPr>
          <p:cNvPicPr>
            <a:picLocks noChangeAspect="1"/>
          </p:cNvPicPr>
          <p:nvPr/>
        </p:nvPicPr>
        <p:blipFill>
          <a:blip r:embed="rId4"/>
          <a:stretch>
            <a:fillRect/>
          </a:stretch>
        </p:blipFill>
        <p:spPr>
          <a:xfrm>
            <a:off x="9191229" y="3165167"/>
            <a:ext cx="162249" cy="162249"/>
          </a:xfrm>
          <a:prstGeom prst="rect">
            <a:avLst/>
          </a:prstGeom>
        </p:spPr>
      </p:pic>
      <p:pic>
        <p:nvPicPr>
          <p:cNvPr id="96" name="Picture 95" descr="A close up of a logo&#10;&#10;Description automatically generated">
            <a:extLst>
              <a:ext uri="{FF2B5EF4-FFF2-40B4-BE49-F238E27FC236}">
                <a16:creationId xmlns:a16="http://schemas.microsoft.com/office/drawing/2014/main" id="{DF095088-91BF-4618-9367-B2FF66C1E926}"/>
              </a:ext>
            </a:extLst>
          </p:cNvPr>
          <p:cNvPicPr>
            <a:picLocks noChangeAspect="1"/>
          </p:cNvPicPr>
          <p:nvPr/>
        </p:nvPicPr>
        <p:blipFill>
          <a:blip r:embed="rId4"/>
          <a:stretch>
            <a:fillRect/>
          </a:stretch>
        </p:blipFill>
        <p:spPr>
          <a:xfrm>
            <a:off x="10106249" y="3165167"/>
            <a:ext cx="162249" cy="162249"/>
          </a:xfrm>
          <a:prstGeom prst="rect">
            <a:avLst/>
          </a:prstGeom>
        </p:spPr>
      </p:pic>
      <p:pic>
        <p:nvPicPr>
          <p:cNvPr id="97" name="Picture 96" descr="A close up of a logo&#10;&#10;Description automatically generated">
            <a:extLst>
              <a:ext uri="{FF2B5EF4-FFF2-40B4-BE49-F238E27FC236}">
                <a16:creationId xmlns:a16="http://schemas.microsoft.com/office/drawing/2014/main" id="{4A7F0F06-03A4-43F8-9870-82F9EB42434B}"/>
              </a:ext>
            </a:extLst>
          </p:cNvPr>
          <p:cNvPicPr>
            <a:picLocks noChangeAspect="1"/>
          </p:cNvPicPr>
          <p:nvPr/>
        </p:nvPicPr>
        <p:blipFill>
          <a:blip r:embed="rId4"/>
          <a:stretch>
            <a:fillRect/>
          </a:stretch>
        </p:blipFill>
        <p:spPr>
          <a:xfrm>
            <a:off x="8459461" y="2031286"/>
            <a:ext cx="162249" cy="162249"/>
          </a:xfrm>
          <a:prstGeom prst="rect">
            <a:avLst/>
          </a:prstGeom>
        </p:spPr>
      </p:pic>
      <p:pic>
        <p:nvPicPr>
          <p:cNvPr id="98" name="Picture 97" descr="A close up of a logo&#10;&#10;Description automatically generated">
            <a:extLst>
              <a:ext uri="{FF2B5EF4-FFF2-40B4-BE49-F238E27FC236}">
                <a16:creationId xmlns:a16="http://schemas.microsoft.com/office/drawing/2014/main" id="{DC24F23B-AA5D-4624-962B-588F6AE963BC}"/>
              </a:ext>
            </a:extLst>
          </p:cNvPr>
          <p:cNvPicPr>
            <a:picLocks noChangeAspect="1"/>
          </p:cNvPicPr>
          <p:nvPr/>
        </p:nvPicPr>
        <p:blipFill>
          <a:blip r:embed="rId4"/>
          <a:stretch>
            <a:fillRect/>
          </a:stretch>
        </p:blipFill>
        <p:spPr>
          <a:xfrm>
            <a:off x="10106249" y="2041203"/>
            <a:ext cx="162249" cy="162249"/>
          </a:xfrm>
          <a:prstGeom prst="rect">
            <a:avLst/>
          </a:prstGeom>
        </p:spPr>
      </p:pic>
      <p:pic>
        <p:nvPicPr>
          <p:cNvPr id="99" name="Picture 98" descr="A close up of a logo&#10;&#10;Description automatically generated">
            <a:extLst>
              <a:ext uri="{FF2B5EF4-FFF2-40B4-BE49-F238E27FC236}">
                <a16:creationId xmlns:a16="http://schemas.microsoft.com/office/drawing/2014/main" id="{52B36B83-BA48-40A2-AC7B-9FBC4A626EE7}"/>
              </a:ext>
            </a:extLst>
          </p:cNvPr>
          <p:cNvPicPr>
            <a:picLocks noChangeAspect="1"/>
          </p:cNvPicPr>
          <p:nvPr/>
        </p:nvPicPr>
        <p:blipFill>
          <a:blip r:embed="rId4"/>
          <a:stretch>
            <a:fillRect/>
          </a:stretch>
        </p:blipFill>
        <p:spPr>
          <a:xfrm>
            <a:off x="8445813" y="3371054"/>
            <a:ext cx="162249" cy="162249"/>
          </a:xfrm>
          <a:prstGeom prst="rect">
            <a:avLst/>
          </a:prstGeom>
        </p:spPr>
      </p:pic>
      <p:pic>
        <p:nvPicPr>
          <p:cNvPr id="100" name="Picture 99" descr="A close up of a logo&#10;&#10;Description automatically generated">
            <a:extLst>
              <a:ext uri="{FF2B5EF4-FFF2-40B4-BE49-F238E27FC236}">
                <a16:creationId xmlns:a16="http://schemas.microsoft.com/office/drawing/2014/main" id="{1888AA3B-373F-4F82-81BC-5A51E501E845}"/>
              </a:ext>
            </a:extLst>
          </p:cNvPr>
          <p:cNvPicPr>
            <a:picLocks noChangeAspect="1"/>
          </p:cNvPicPr>
          <p:nvPr/>
        </p:nvPicPr>
        <p:blipFill>
          <a:blip r:embed="rId4"/>
          <a:stretch>
            <a:fillRect/>
          </a:stretch>
        </p:blipFill>
        <p:spPr>
          <a:xfrm>
            <a:off x="9187049" y="3371054"/>
            <a:ext cx="162249" cy="162249"/>
          </a:xfrm>
          <a:prstGeom prst="rect">
            <a:avLst/>
          </a:prstGeom>
        </p:spPr>
      </p:pic>
      <p:pic>
        <p:nvPicPr>
          <p:cNvPr id="101" name="Picture 100" descr="A close up of a logo&#10;&#10;Description automatically generated">
            <a:extLst>
              <a:ext uri="{FF2B5EF4-FFF2-40B4-BE49-F238E27FC236}">
                <a16:creationId xmlns:a16="http://schemas.microsoft.com/office/drawing/2014/main" id="{D0D1C31F-1D2E-4AEF-80AC-D6E9C68A6585}"/>
              </a:ext>
            </a:extLst>
          </p:cNvPr>
          <p:cNvPicPr>
            <a:picLocks noChangeAspect="1"/>
          </p:cNvPicPr>
          <p:nvPr/>
        </p:nvPicPr>
        <p:blipFill>
          <a:blip r:embed="rId4"/>
          <a:stretch>
            <a:fillRect/>
          </a:stretch>
        </p:blipFill>
        <p:spPr>
          <a:xfrm>
            <a:off x="3516991" y="3174347"/>
            <a:ext cx="162249" cy="162249"/>
          </a:xfrm>
          <a:prstGeom prst="rect">
            <a:avLst/>
          </a:prstGeom>
        </p:spPr>
      </p:pic>
      <p:pic>
        <p:nvPicPr>
          <p:cNvPr id="102" name="Picture 101" descr="A close up of a logo&#10;&#10;Description automatically generated">
            <a:extLst>
              <a:ext uri="{FF2B5EF4-FFF2-40B4-BE49-F238E27FC236}">
                <a16:creationId xmlns:a16="http://schemas.microsoft.com/office/drawing/2014/main" id="{DB1D544C-31E2-44F0-84DA-148F2459E91C}"/>
              </a:ext>
            </a:extLst>
          </p:cNvPr>
          <p:cNvPicPr>
            <a:picLocks noChangeAspect="1"/>
          </p:cNvPicPr>
          <p:nvPr/>
        </p:nvPicPr>
        <p:blipFill>
          <a:blip r:embed="rId3"/>
          <a:stretch>
            <a:fillRect/>
          </a:stretch>
        </p:blipFill>
        <p:spPr>
          <a:xfrm>
            <a:off x="7356048" y="3303827"/>
            <a:ext cx="253185" cy="253185"/>
          </a:xfrm>
          <a:prstGeom prst="rect">
            <a:avLst/>
          </a:prstGeom>
        </p:spPr>
      </p:pic>
      <p:pic>
        <p:nvPicPr>
          <p:cNvPr id="103" name="Picture 102" descr="A close up of a logo&#10;&#10;Description automatically generated">
            <a:extLst>
              <a:ext uri="{FF2B5EF4-FFF2-40B4-BE49-F238E27FC236}">
                <a16:creationId xmlns:a16="http://schemas.microsoft.com/office/drawing/2014/main" id="{C497C768-94FD-4DDC-A0DB-1FAF95C55066}"/>
              </a:ext>
            </a:extLst>
          </p:cNvPr>
          <p:cNvPicPr>
            <a:picLocks noChangeAspect="1"/>
          </p:cNvPicPr>
          <p:nvPr/>
        </p:nvPicPr>
        <p:blipFill>
          <a:blip r:embed="rId3"/>
          <a:stretch>
            <a:fillRect/>
          </a:stretch>
        </p:blipFill>
        <p:spPr>
          <a:xfrm>
            <a:off x="7359156" y="3112034"/>
            <a:ext cx="253185" cy="253185"/>
          </a:xfrm>
          <a:prstGeom prst="rect">
            <a:avLst/>
          </a:prstGeom>
        </p:spPr>
      </p:pic>
      <p:sp>
        <p:nvSpPr>
          <p:cNvPr id="104" name="Rounded Rectangle 36">
            <a:extLst>
              <a:ext uri="{FF2B5EF4-FFF2-40B4-BE49-F238E27FC236}">
                <a16:creationId xmlns:a16="http://schemas.microsoft.com/office/drawing/2014/main" id="{13A3BE7E-07C4-4C5A-A811-7AFAE83EA70F}"/>
              </a:ext>
            </a:extLst>
          </p:cNvPr>
          <p:cNvSpPr/>
          <p:nvPr/>
        </p:nvSpPr>
        <p:spPr>
          <a:xfrm>
            <a:off x="739867" y="3749968"/>
            <a:ext cx="10905600" cy="161980"/>
          </a:xfrm>
          <a:prstGeom prst="roundRect">
            <a:avLst>
              <a:gd name="adj" fmla="val 5913"/>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a:solidFill>
                  <a:schemeClr val="tx1"/>
                </a:solidFill>
              </a:rPr>
              <a:t>MITS (CSS) / SPIPE / DIS (CRIS)</a:t>
            </a:r>
          </a:p>
        </p:txBody>
      </p:sp>
      <p:sp>
        <p:nvSpPr>
          <p:cNvPr id="105" name="Rounded Rectangle 36">
            <a:extLst>
              <a:ext uri="{FF2B5EF4-FFF2-40B4-BE49-F238E27FC236}">
                <a16:creationId xmlns:a16="http://schemas.microsoft.com/office/drawing/2014/main" id="{0CCB4B09-D6FD-4BA5-BD83-125BAD27BF2E}"/>
              </a:ext>
            </a:extLst>
          </p:cNvPr>
          <p:cNvSpPr/>
          <p:nvPr/>
        </p:nvSpPr>
        <p:spPr>
          <a:xfrm>
            <a:off x="748439" y="3942641"/>
            <a:ext cx="10905600" cy="161980"/>
          </a:xfrm>
          <a:prstGeom prst="roundRect">
            <a:avLst>
              <a:gd name="adj" fmla="val 5913"/>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a:solidFill>
                  <a:schemeClr val="tx1"/>
                </a:solidFill>
              </a:rPr>
              <a:t>GIS</a:t>
            </a:r>
          </a:p>
        </p:txBody>
      </p:sp>
      <p:sp>
        <p:nvSpPr>
          <p:cNvPr id="106" name="Rounded Rectangle 36">
            <a:extLst>
              <a:ext uri="{FF2B5EF4-FFF2-40B4-BE49-F238E27FC236}">
                <a16:creationId xmlns:a16="http://schemas.microsoft.com/office/drawing/2014/main" id="{9446ADA9-8DCD-475C-B7A3-3353B1B5674D}"/>
              </a:ext>
            </a:extLst>
          </p:cNvPr>
          <p:cNvSpPr/>
          <p:nvPr/>
        </p:nvSpPr>
        <p:spPr>
          <a:xfrm>
            <a:off x="740678" y="5737234"/>
            <a:ext cx="10905600" cy="161980"/>
          </a:xfrm>
          <a:prstGeom prst="roundRect">
            <a:avLst>
              <a:gd name="adj" fmla="val 5913"/>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dirty="0">
                <a:solidFill>
                  <a:schemeClr val="tx1"/>
                </a:solidFill>
              </a:rPr>
              <a:t>CCAE</a:t>
            </a:r>
          </a:p>
        </p:txBody>
      </p:sp>
      <p:sp>
        <p:nvSpPr>
          <p:cNvPr id="107" name="Rounded Rectangle 36">
            <a:extLst>
              <a:ext uri="{FF2B5EF4-FFF2-40B4-BE49-F238E27FC236}">
                <a16:creationId xmlns:a16="http://schemas.microsoft.com/office/drawing/2014/main" id="{BE1DEBE0-E79F-40E7-B67E-1EE89E11E73C}"/>
              </a:ext>
            </a:extLst>
          </p:cNvPr>
          <p:cNvSpPr/>
          <p:nvPr/>
        </p:nvSpPr>
        <p:spPr>
          <a:xfrm>
            <a:off x="744402" y="5930985"/>
            <a:ext cx="10905600" cy="161980"/>
          </a:xfrm>
          <a:prstGeom prst="roundRect">
            <a:avLst>
              <a:gd name="adj" fmla="val 5913"/>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a:solidFill>
                  <a:schemeClr val="tx1"/>
                </a:solidFill>
              </a:rPr>
              <a:t>CSS (Revenue) Data Warehouse</a:t>
            </a:r>
          </a:p>
        </p:txBody>
      </p:sp>
      <p:sp>
        <p:nvSpPr>
          <p:cNvPr id="108" name="Rounded Rectangle 36">
            <a:extLst>
              <a:ext uri="{FF2B5EF4-FFF2-40B4-BE49-F238E27FC236}">
                <a16:creationId xmlns:a16="http://schemas.microsoft.com/office/drawing/2014/main" id="{18FD43D1-8FE2-4577-BCBF-592813BFECA2}"/>
              </a:ext>
            </a:extLst>
          </p:cNvPr>
          <p:cNvSpPr/>
          <p:nvPr/>
        </p:nvSpPr>
        <p:spPr>
          <a:xfrm>
            <a:off x="734282" y="6114483"/>
            <a:ext cx="10905600" cy="161980"/>
          </a:xfrm>
          <a:prstGeom prst="roundRect">
            <a:avLst>
              <a:gd name="adj" fmla="val 5913"/>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a:solidFill>
                  <a:schemeClr val="tx1"/>
                </a:solidFill>
              </a:rPr>
              <a:t>CSQ / Trends</a:t>
            </a:r>
          </a:p>
        </p:txBody>
      </p:sp>
      <p:sp>
        <p:nvSpPr>
          <p:cNvPr id="109" name="TextBox 108">
            <a:extLst>
              <a:ext uri="{FF2B5EF4-FFF2-40B4-BE49-F238E27FC236}">
                <a16:creationId xmlns:a16="http://schemas.microsoft.com/office/drawing/2014/main" id="{A1B5A350-82BF-4860-A176-599C35B4B569}"/>
              </a:ext>
            </a:extLst>
          </p:cNvPr>
          <p:cNvSpPr txBox="1"/>
          <p:nvPr/>
        </p:nvSpPr>
        <p:spPr bwMode="auto">
          <a:xfrm rot="16200000">
            <a:off x="-5760" y="5367167"/>
            <a:ext cx="952185"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ctr">
              <a:buClr>
                <a:schemeClr val="tx1"/>
              </a:buClr>
            </a:pPr>
            <a:r>
              <a:rPr lang="en-US" sz="1050" b="1" kern="0">
                <a:solidFill>
                  <a:srgbClr val="000000"/>
                </a:solidFill>
                <a:latin typeface="+mn-lt"/>
                <a:ea typeface="+mn-ea"/>
              </a:rPr>
              <a:t>Customer</a:t>
            </a:r>
          </a:p>
          <a:p>
            <a:pPr algn="ctr">
              <a:buClr>
                <a:schemeClr val="tx1"/>
              </a:buClr>
            </a:pPr>
            <a:r>
              <a:rPr lang="en-US" sz="1050" b="1" kern="0">
                <a:solidFill>
                  <a:srgbClr val="000000"/>
                </a:solidFill>
                <a:latin typeface="+mn-lt"/>
                <a:ea typeface="+mn-ea"/>
              </a:rPr>
              <a:t>Data </a:t>
            </a:r>
            <a:r>
              <a:rPr lang="en-US" sz="1050" b="1" kern="0">
                <a:solidFill>
                  <a:srgbClr val="000000"/>
                </a:solidFill>
              </a:rPr>
              <a:t>Platforms</a:t>
            </a:r>
          </a:p>
        </p:txBody>
      </p:sp>
      <p:sp>
        <p:nvSpPr>
          <p:cNvPr id="110" name="Rounded Rectangle 36">
            <a:extLst>
              <a:ext uri="{FF2B5EF4-FFF2-40B4-BE49-F238E27FC236}">
                <a16:creationId xmlns:a16="http://schemas.microsoft.com/office/drawing/2014/main" id="{15E89EE8-AF03-472E-A2D0-B91EE32938C0}"/>
              </a:ext>
            </a:extLst>
          </p:cNvPr>
          <p:cNvSpPr/>
          <p:nvPr/>
        </p:nvSpPr>
        <p:spPr>
          <a:xfrm>
            <a:off x="724737" y="4970110"/>
            <a:ext cx="10905600" cy="161980"/>
          </a:xfrm>
          <a:prstGeom prst="roundRect">
            <a:avLst>
              <a:gd name="adj" fmla="val 5913"/>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a:solidFill>
                  <a:schemeClr val="tx1"/>
                </a:solidFill>
              </a:rPr>
              <a:t>CEMP 3</a:t>
            </a:r>
            <a:r>
              <a:rPr lang="en-IN" sz="733" baseline="30000">
                <a:solidFill>
                  <a:schemeClr val="tx1"/>
                </a:solidFill>
              </a:rPr>
              <a:t>rd</a:t>
            </a:r>
            <a:r>
              <a:rPr lang="en-IN" sz="733">
                <a:solidFill>
                  <a:schemeClr val="tx1"/>
                </a:solidFill>
              </a:rPr>
              <a:t> Party (Uplight / O-Power)</a:t>
            </a:r>
          </a:p>
        </p:txBody>
      </p:sp>
      <p:pic>
        <p:nvPicPr>
          <p:cNvPr id="111" name="Picture 110" descr="A close up of a logo&#10;&#10;Description automatically generated">
            <a:extLst>
              <a:ext uri="{FF2B5EF4-FFF2-40B4-BE49-F238E27FC236}">
                <a16:creationId xmlns:a16="http://schemas.microsoft.com/office/drawing/2014/main" id="{7762E069-32C0-4698-A2E7-5E2E5F1B01C2}"/>
              </a:ext>
            </a:extLst>
          </p:cNvPr>
          <p:cNvPicPr>
            <a:picLocks noChangeAspect="1"/>
          </p:cNvPicPr>
          <p:nvPr/>
        </p:nvPicPr>
        <p:blipFill>
          <a:blip r:embed="rId4"/>
          <a:stretch>
            <a:fillRect/>
          </a:stretch>
        </p:blipFill>
        <p:spPr>
          <a:xfrm>
            <a:off x="10106249" y="3361451"/>
            <a:ext cx="162249" cy="162249"/>
          </a:xfrm>
          <a:prstGeom prst="rect">
            <a:avLst/>
          </a:prstGeom>
        </p:spPr>
      </p:pic>
      <p:pic>
        <p:nvPicPr>
          <p:cNvPr id="112" name="Picture 111" descr="A close up of a logo&#10;&#10;Description automatically generated">
            <a:extLst>
              <a:ext uri="{FF2B5EF4-FFF2-40B4-BE49-F238E27FC236}">
                <a16:creationId xmlns:a16="http://schemas.microsoft.com/office/drawing/2014/main" id="{E1651350-85BF-4DEF-8BC8-AC1B6AB7670B}"/>
              </a:ext>
            </a:extLst>
          </p:cNvPr>
          <p:cNvPicPr>
            <a:picLocks noChangeAspect="1"/>
          </p:cNvPicPr>
          <p:nvPr/>
        </p:nvPicPr>
        <p:blipFill>
          <a:blip r:embed="rId4"/>
          <a:stretch>
            <a:fillRect/>
          </a:stretch>
        </p:blipFill>
        <p:spPr>
          <a:xfrm>
            <a:off x="7120276" y="2967142"/>
            <a:ext cx="162249" cy="162249"/>
          </a:xfrm>
          <a:prstGeom prst="rect">
            <a:avLst/>
          </a:prstGeom>
        </p:spPr>
      </p:pic>
      <p:pic>
        <p:nvPicPr>
          <p:cNvPr id="113" name="Picture 112" descr="A close up of a logo&#10;&#10;Description automatically generated">
            <a:extLst>
              <a:ext uri="{FF2B5EF4-FFF2-40B4-BE49-F238E27FC236}">
                <a16:creationId xmlns:a16="http://schemas.microsoft.com/office/drawing/2014/main" id="{F3BBB0AA-559B-42C6-B7F1-8921AFFF4E83}"/>
              </a:ext>
            </a:extLst>
          </p:cNvPr>
          <p:cNvPicPr>
            <a:picLocks noChangeAspect="1"/>
          </p:cNvPicPr>
          <p:nvPr/>
        </p:nvPicPr>
        <p:blipFill>
          <a:blip r:embed="rId4"/>
          <a:stretch>
            <a:fillRect/>
          </a:stretch>
        </p:blipFill>
        <p:spPr>
          <a:xfrm>
            <a:off x="8439893" y="2972418"/>
            <a:ext cx="162249" cy="162249"/>
          </a:xfrm>
          <a:prstGeom prst="rect">
            <a:avLst/>
          </a:prstGeom>
        </p:spPr>
      </p:pic>
      <p:pic>
        <p:nvPicPr>
          <p:cNvPr id="114" name="Picture 113" descr="A close up of a logo&#10;&#10;Description automatically generated">
            <a:extLst>
              <a:ext uri="{FF2B5EF4-FFF2-40B4-BE49-F238E27FC236}">
                <a16:creationId xmlns:a16="http://schemas.microsoft.com/office/drawing/2014/main" id="{525C2268-CBCB-404B-93B6-0352BE696CC8}"/>
              </a:ext>
            </a:extLst>
          </p:cNvPr>
          <p:cNvPicPr>
            <a:picLocks noChangeAspect="1"/>
          </p:cNvPicPr>
          <p:nvPr/>
        </p:nvPicPr>
        <p:blipFill>
          <a:blip r:embed="rId4"/>
          <a:stretch>
            <a:fillRect/>
          </a:stretch>
        </p:blipFill>
        <p:spPr>
          <a:xfrm>
            <a:off x="10106249" y="2972418"/>
            <a:ext cx="162249" cy="162249"/>
          </a:xfrm>
          <a:prstGeom prst="rect">
            <a:avLst/>
          </a:prstGeom>
        </p:spPr>
      </p:pic>
      <p:pic>
        <p:nvPicPr>
          <p:cNvPr id="115" name="Picture 114" descr="A close up of a logo&#10;&#10;Description automatically generated">
            <a:extLst>
              <a:ext uri="{FF2B5EF4-FFF2-40B4-BE49-F238E27FC236}">
                <a16:creationId xmlns:a16="http://schemas.microsoft.com/office/drawing/2014/main" id="{D3C54B58-7813-4BE4-BF18-7C33CC71C7A8}"/>
              </a:ext>
            </a:extLst>
          </p:cNvPr>
          <p:cNvPicPr>
            <a:picLocks noChangeAspect="1"/>
          </p:cNvPicPr>
          <p:nvPr/>
        </p:nvPicPr>
        <p:blipFill>
          <a:blip r:embed="rId4"/>
          <a:stretch>
            <a:fillRect/>
          </a:stretch>
        </p:blipFill>
        <p:spPr>
          <a:xfrm>
            <a:off x="8451345" y="3746285"/>
            <a:ext cx="162249" cy="162249"/>
          </a:xfrm>
          <a:prstGeom prst="rect">
            <a:avLst/>
          </a:prstGeom>
        </p:spPr>
      </p:pic>
      <p:pic>
        <p:nvPicPr>
          <p:cNvPr id="116" name="Picture 115" descr="A close up of a logo&#10;&#10;Description automatically generated">
            <a:extLst>
              <a:ext uri="{FF2B5EF4-FFF2-40B4-BE49-F238E27FC236}">
                <a16:creationId xmlns:a16="http://schemas.microsoft.com/office/drawing/2014/main" id="{EE3E8340-1592-445B-98D0-1AAEF1E7836D}"/>
              </a:ext>
            </a:extLst>
          </p:cNvPr>
          <p:cNvPicPr>
            <a:picLocks noChangeAspect="1"/>
          </p:cNvPicPr>
          <p:nvPr/>
        </p:nvPicPr>
        <p:blipFill>
          <a:blip r:embed="rId4"/>
          <a:stretch>
            <a:fillRect/>
          </a:stretch>
        </p:blipFill>
        <p:spPr>
          <a:xfrm>
            <a:off x="8458898" y="3962927"/>
            <a:ext cx="162249" cy="162249"/>
          </a:xfrm>
          <a:prstGeom prst="rect">
            <a:avLst/>
          </a:prstGeom>
        </p:spPr>
      </p:pic>
      <p:pic>
        <p:nvPicPr>
          <p:cNvPr id="117" name="Picture 116" descr="A close up of a logo&#10;&#10;Description automatically generated">
            <a:extLst>
              <a:ext uri="{FF2B5EF4-FFF2-40B4-BE49-F238E27FC236}">
                <a16:creationId xmlns:a16="http://schemas.microsoft.com/office/drawing/2014/main" id="{F2A7A53C-BE57-4709-A9E3-988386831439}"/>
              </a:ext>
            </a:extLst>
          </p:cNvPr>
          <p:cNvPicPr>
            <a:picLocks noChangeAspect="1"/>
          </p:cNvPicPr>
          <p:nvPr/>
        </p:nvPicPr>
        <p:blipFill>
          <a:blip r:embed="rId4"/>
          <a:stretch>
            <a:fillRect/>
          </a:stretch>
        </p:blipFill>
        <p:spPr>
          <a:xfrm>
            <a:off x="8455377" y="4152786"/>
            <a:ext cx="162249" cy="162249"/>
          </a:xfrm>
          <a:prstGeom prst="rect">
            <a:avLst/>
          </a:prstGeom>
        </p:spPr>
      </p:pic>
      <p:pic>
        <p:nvPicPr>
          <p:cNvPr id="118" name="Picture 117" descr="A close up of a logo&#10;&#10;Description automatically generated">
            <a:extLst>
              <a:ext uri="{FF2B5EF4-FFF2-40B4-BE49-F238E27FC236}">
                <a16:creationId xmlns:a16="http://schemas.microsoft.com/office/drawing/2014/main" id="{D6EEB28E-B796-4614-BAF8-1769B65140E7}"/>
              </a:ext>
            </a:extLst>
          </p:cNvPr>
          <p:cNvPicPr>
            <a:picLocks noChangeAspect="1"/>
          </p:cNvPicPr>
          <p:nvPr/>
        </p:nvPicPr>
        <p:blipFill>
          <a:blip r:embed="rId4"/>
          <a:stretch>
            <a:fillRect/>
          </a:stretch>
        </p:blipFill>
        <p:spPr>
          <a:xfrm>
            <a:off x="5474274" y="3930386"/>
            <a:ext cx="162249" cy="162249"/>
          </a:xfrm>
          <a:prstGeom prst="rect">
            <a:avLst/>
          </a:prstGeom>
        </p:spPr>
      </p:pic>
      <p:pic>
        <p:nvPicPr>
          <p:cNvPr id="119" name="Picture 118" descr="A close up of a logo&#10;&#10;Description automatically generated">
            <a:extLst>
              <a:ext uri="{FF2B5EF4-FFF2-40B4-BE49-F238E27FC236}">
                <a16:creationId xmlns:a16="http://schemas.microsoft.com/office/drawing/2014/main" id="{538C204B-EB9F-4681-A633-CBE0ED545DDB}"/>
              </a:ext>
            </a:extLst>
          </p:cNvPr>
          <p:cNvPicPr>
            <a:picLocks noChangeAspect="1"/>
          </p:cNvPicPr>
          <p:nvPr/>
        </p:nvPicPr>
        <p:blipFill>
          <a:blip r:embed="rId4"/>
          <a:stretch>
            <a:fillRect/>
          </a:stretch>
        </p:blipFill>
        <p:spPr>
          <a:xfrm>
            <a:off x="7133988" y="6529373"/>
            <a:ext cx="162249" cy="162249"/>
          </a:xfrm>
          <a:prstGeom prst="rect">
            <a:avLst/>
          </a:prstGeom>
          <a:solidFill>
            <a:schemeClr val="tx1"/>
          </a:solidFill>
        </p:spPr>
      </p:pic>
      <p:sp>
        <p:nvSpPr>
          <p:cNvPr id="120" name="TextBox 119">
            <a:extLst>
              <a:ext uri="{FF2B5EF4-FFF2-40B4-BE49-F238E27FC236}">
                <a16:creationId xmlns:a16="http://schemas.microsoft.com/office/drawing/2014/main" id="{3CC0343F-88B7-4FD5-A513-1435B3D9949B}"/>
              </a:ext>
            </a:extLst>
          </p:cNvPr>
          <p:cNvSpPr txBox="1"/>
          <p:nvPr/>
        </p:nvSpPr>
        <p:spPr>
          <a:xfrm>
            <a:off x="7382134" y="6542834"/>
            <a:ext cx="1548501" cy="153888"/>
          </a:xfrm>
          <a:prstGeom prst="rect">
            <a:avLst/>
          </a:prstGeom>
          <a:noFill/>
        </p:spPr>
        <p:txBody>
          <a:bodyPr wrap="none" lIns="0" tIns="0" rIns="0" bIns="0" rtlCol="0">
            <a:spAutoFit/>
          </a:bodyPr>
          <a:lstStyle/>
          <a:p>
            <a:pPr algn="l"/>
            <a:r>
              <a:rPr lang="en-GB" sz="1000"/>
              <a:t>No Explicit Master / Implied</a:t>
            </a:r>
          </a:p>
        </p:txBody>
      </p:sp>
      <p:sp>
        <p:nvSpPr>
          <p:cNvPr id="121" name="Rectangle 120">
            <a:extLst>
              <a:ext uri="{FF2B5EF4-FFF2-40B4-BE49-F238E27FC236}">
                <a16:creationId xmlns:a16="http://schemas.microsoft.com/office/drawing/2014/main" id="{0F1DA06C-1746-4162-A69C-500B986B534D}"/>
              </a:ext>
            </a:extLst>
          </p:cNvPr>
          <p:cNvSpPr/>
          <p:nvPr/>
        </p:nvSpPr>
        <p:spPr bwMode="auto">
          <a:xfrm>
            <a:off x="308063" y="4929578"/>
            <a:ext cx="11329965" cy="1369086"/>
          </a:xfrm>
          <a:prstGeom prst="rect">
            <a:avLst/>
          </a:prstGeom>
          <a:noFill/>
          <a:ln w="28575" cap="flat" cmpd="sng" algn="ctr">
            <a:solidFill>
              <a:srgbClr val="3366CC"/>
            </a:solidFill>
            <a:prstDash val="sysDash"/>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US" sz="1800" err="1">
              <a:solidFill>
                <a:schemeClr val="bg1"/>
              </a:solidFill>
              <a:latin typeface="+mn-lt"/>
              <a:cs typeface="Arial"/>
            </a:endParaRPr>
          </a:p>
        </p:txBody>
      </p:sp>
      <p:sp>
        <p:nvSpPr>
          <p:cNvPr id="122" name="Rounded Rectangle 175">
            <a:extLst>
              <a:ext uri="{FF2B5EF4-FFF2-40B4-BE49-F238E27FC236}">
                <a16:creationId xmlns:a16="http://schemas.microsoft.com/office/drawing/2014/main" id="{C8BD2EB7-6F91-44D6-984C-46AAF292F345}"/>
              </a:ext>
            </a:extLst>
          </p:cNvPr>
          <p:cNvSpPr/>
          <p:nvPr/>
        </p:nvSpPr>
        <p:spPr bwMode="auto">
          <a:xfrm>
            <a:off x="10735848" y="611954"/>
            <a:ext cx="876321" cy="5684956"/>
          </a:xfrm>
          <a:prstGeom prst="roundRect">
            <a:avLst/>
          </a:prstGeom>
          <a:noFill/>
          <a:ln w="9525" cap="flat" cmpd="sng" algn="ctr">
            <a:solidFill>
              <a:schemeClr val="tx1"/>
            </a:solidFill>
            <a:prstDash val="sys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a:spcAft>
                <a:spcPct val="0"/>
              </a:spcAft>
            </a:pPr>
            <a:endParaRPr lang="en-GB">
              <a:solidFill>
                <a:schemeClr val="bg1"/>
              </a:solidFill>
              <a:latin typeface="Arial" charset="0"/>
              <a:ea typeface="ＭＳ Ｐゴシック" pitchFamily="48" charset="-128"/>
            </a:endParaRPr>
          </a:p>
        </p:txBody>
      </p:sp>
      <p:sp>
        <p:nvSpPr>
          <p:cNvPr id="123" name="Rounded Rectangle 175">
            <a:extLst>
              <a:ext uri="{FF2B5EF4-FFF2-40B4-BE49-F238E27FC236}">
                <a16:creationId xmlns:a16="http://schemas.microsoft.com/office/drawing/2014/main" id="{AFD0A859-C1DD-44D7-A86E-C2C7FD827172}"/>
              </a:ext>
            </a:extLst>
          </p:cNvPr>
          <p:cNvSpPr/>
          <p:nvPr/>
        </p:nvSpPr>
        <p:spPr bwMode="auto">
          <a:xfrm>
            <a:off x="9797604" y="602672"/>
            <a:ext cx="876321" cy="5693915"/>
          </a:xfrm>
          <a:prstGeom prst="roundRect">
            <a:avLst/>
          </a:prstGeom>
          <a:noFill/>
          <a:ln w="9525" cap="flat" cmpd="sng" algn="ctr">
            <a:solidFill>
              <a:schemeClr val="tx1"/>
            </a:solidFill>
            <a:prstDash val="sys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a:spcAft>
                <a:spcPct val="0"/>
              </a:spcAft>
            </a:pPr>
            <a:endParaRPr lang="en-GB">
              <a:solidFill>
                <a:schemeClr val="bg1"/>
              </a:solidFill>
              <a:latin typeface="Arial" charset="0"/>
              <a:ea typeface="ＭＳ Ｐゴシック" pitchFamily="48" charset="-128"/>
            </a:endParaRPr>
          </a:p>
        </p:txBody>
      </p:sp>
      <p:sp>
        <p:nvSpPr>
          <p:cNvPr id="124" name="Rounded Rectangle 175">
            <a:extLst>
              <a:ext uri="{FF2B5EF4-FFF2-40B4-BE49-F238E27FC236}">
                <a16:creationId xmlns:a16="http://schemas.microsoft.com/office/drawing/2014/main" id="{E7787AF1-469C-464F-A3CD-A1936CBD5321}"/>
              </a:ext>
            </a:extLst>
          </p:cNvPr>
          <p:cNvSpPr/>
          <p:nvPr/>
        </p:nvSpPr>
        <p:spPr bwMode="auto">
          <a:xfrm>
            <a:off x="8877832" y="611955"/>
            <a:ext cx="876321" cy="5684956"/>
          </a:xfrm>
          <a:prstGeom prst="roundRect">
            <a:avLst/>
          </a:prstGeom>
          <a:noFill/>
          <a:ln w="9525" cap="flat" cmpd="sng" algn="ctr">
            <a:solidFill>
              <a:schemeClr val="tx1"/>
            </a:solidFill>
            <a:prstDash val="sys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a:spcAft>
                <a:spcPct val="0"/>
              </a:spcAft>
            </a:pPr>
            <a:endParaRPr lang="en-GB">
              <a:solidFill>
                <a:schemeClr val="bg1"/>
              </a:solidFill>
              <a:latin typeface="Arial" charset="0"/>
              <a:ea typeface="ＭＳ Ｐゴシック" pitchFamily="48" charset="-128"/>
            </a:endParaRPr>
          </a:p>
        </p:txBody>
      </p:sp>
      <p:sp>
        <p:nvSpPr>
          <p:cNvPr id="125" name="Rounded Rectangle 175">
            <a:extLst>
              <a:ext uri="{FF2B5EF4-FFF2-40B4-BE49-F238E27FC236}">
                <a16:creationId xmlns:a16="http://schemas.microsoft.com/office/drawing/2014/main" id="{C571A6F9-4FC8-45B1-B0AA-75A02332E113}"/>
              </a:ext>
            </a:extLst>
          </p:cNvPr>
          <p:cNvSpPr/>
          <p:nvPr/>
        </p:nvSpPr>
        <p:spPr bwMode="auto">
          <a:xfrm>
            <a:off x="7943398" y="611955"/>
            <a:ext cx="876321" cy="5684955"/>
          </a:xfrm>
          <a:prstGeom prst="roundRect">
            <a:avLst/>
          </a:prstGeom>
          <a:noFill/>
          <a:ln w="9525" cap="flat" cmpd="sng" algn="ctr">
            <a:solidFill>
              <a:schemeClr val="tx1"/>
            </a:solidFill>
            <a:prstDash val="sys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a:spcAft>
                <a:spcPct val="0"/>
              </a:spcAft>
            </a:pPr>
            <a:endParaRPr lang="en-GB" err="1">
              <a:solidFill>
                <a:schemeClr val="bg1"/>
              </a:solidFill>
              <a:latin typeface="Arial" charset="0"/>
              <a:ea typeface="ＭＳ Ｐゴシック" pitchFamily="48" charset="-128"/>
            </a:endParaRPr>
          </a:p>
        </p:txBody>
      </p:sp>
      <p:sp>
        <p:nvSpPr>
          <p:cNvPr id="126" name="Rounded Rectangle 175">
            <a:extLst>
              <a:ext uri="{FF2B5EF4-FFF2-40B4-BE49-F238E27FC236}">
                <a16:creationId xmlns:a16="http://schemas.microsoft.com/office/drawing/2014/main" id="{FACCAD12-F97F-47A1-B03E-E6154E316BA4}"/>
              </a:ext>
            </a:extLst>
          </p:cNvPr>
          <p:cNvSpPr/>
          <p:nvPr/>
        </p:nvSpPr>
        <p:spPr bwMode="auto">
          <a:xfrm>
            <a:off x="7010143" y="612372"/>
            <a:ext cx="876321" cy="5684858"/>
          </a:xfrm>
          <a:prstGeom prst="roundRect">
            <a:avLst/>
          </a:prstGeom>
          <a:noFill/>
          <a:ln w="9525" cap="flat" cmpd="sng" algn="ctr">
            <a:solidFill>
              <a:schemeClr val="tx1"/>
            </a:solidFill>
            <a:prstDash val="sys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a:spcAft>
                <a:spcPct val="0"/>
              </a:spcAft>
            </a:pPr>
            <a:endParaRPr lang="en-GB" err="1">
              <a:solidFill>
                <a:schemeClr val="bg1"/>
              </a:solidFill>
              <a:latin typeface="Arial" charset="0"/>
              <a:ea typeface="ＭＳ Ｐゴシック" pitchFamily="48" charset="-128"/>
            </a:endParaRPr>
          </a:p>
        </p:txBody>
      </p:sp>
      <p:cxnSp>
        <p:nvCxnSpPr>
          <p:cNvPr id="127" name="Straight Arrow Connector 126">
            <a:extLst>
              <a:ext uri="{FF2B5EF4-FFF2-40B4-BE49-F238E27FC236}">
                <a16:creationId xmlns:a16="http://schemas.microsoft.com/office/drawing/2014/main" id="{A27497E5-222B-4380-9B99-3C94C1B944B7}"/>
              </a:ext>
            </a:extLst>
          </p:cNvPr>
          <p:cNvCxnSpPr>
            <a:cxnSpLocks/>
          </p:cNvCxnSpPr>
          <p:nvPr/>
        </p:nvCxnSpPr>
        <p:spPr bwMode="auto">
          <a:xfrm flipV="1">
            <a:off x="4054479" y="3387578"/>
            <a:ext cx="0" cy="277401"/>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pic>
        <p:nvPicPr>
          <p:cNvPr id="128" name="Picture 127" descr="A close up of a logo&#10;&#10;Description automatically generated">
            <a:extLst>
              <a:ext uri="{FF2B5EF4-FFF2-40B4-BE49-F238E27FC236}">
                <a16:creationId xmlns:a16="http://schemas.microsoft.com/office/drawing/2014/main" id="{B6FC5B8E-0578-4D58-B34D-0ED3915CFEEB}"/>
              </a:ext>
            </a:extLst>
          </p:cNvPr>
          <p:cNvPicPr>
            <a:picLocks noChangeAspect="1"/>
          </p:cNvPicPr>
          <p:nvPr/>
        </p:nvPicPr>
        <p:blipFill>
          <a:blip r:embed="rId4"/>
          <a:stretch>
            <a:fillRect/>
          </a:stretch>
        </p:blipFill>
        <p:spPr>
          <a:xfrm>
            <a:off x="6325241" y="4122349"/>
            <a:ext cx="162249" cy="162249"/>
          </a:xfrm>
          <a:prstGeom prst="rect">
            <a:avLst/>
          </a:prstGeom>
        </p:spPr>
      </p:pic>
      <p:pic>
        <p:nvPicPr>
          <p:cNvPr id="129" name="Picture 128" descr="A close up of a logo&#10;&#10;Description automatically generated">
            <a:extLst>
              <a:ext uri="{FF2B5EF4-FFF2-40B4-BE49-F238E27FC236}">
                <a16:creationId xmlns:a16="http://schemas.microsoft.com/office/drawing/2014/main" id="{9CD1A497-FF85-462D-9DE7-DD8DDA6F93F7}"/>
              </a:ext>
            </a:extLst>
          </p:cNvPr>
          <p:cNvPicPr>
            <a:picLocks noChangeAspect="1"/>
          </p:cNvPicPr>
          <p:nvPr/>
        </p:nvPicPr>
        <p:blipFill>
          <a:blip r:embed="rId4"/>
          <a:stretch>
            <a:fillRect/>
          </a:stretch>
        </p:blipFill>
        <p:spPr>
          <a:xfrm>
            <a:off x="6325241" y="4336170"/>
            <a:ext cx="162249" cy="162249"/>
          </a:xfrm>
          <a:prstGeom prst="rect">
            <a:avLst/>
          </a:prstGeom>
        </p:spPr>
      </p:pic>
      <p:cxnSp>
        <p:nvCxnSpPr>
          <p:cNvPr id="130" name="Straight Arrow Connector 129">
            <a:extLst>
              <a:ext uri="{FF2B5EF4-FFF2-40B4-BE49-F238E27FC236}">
                <a16:creationId xmlns:a16="http://schemas.microsoft.com/office/drawing/2014/main" id="{4BF66804-FAB6-459A-8A21-560CB0317D1C}"/>
              </a:ext>
            </a:extLst>
          </p:cNvPr>
          <p:cNvCxnSpPr>
            <a:cxnSpLocks/>
          </p:cNvCxnSpPr>
          <p:nvPr/>
        </p:nvCxnSpPr>
        <p:spPr bwMode="auto">
          <a:xfrm flipV="1">
            <a:off x="6609254" y="2763551"/>
            <a:ext cx="9083" cy="299126"/>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31" name="Straight Arrow Connector 130">
            <a:extLst>
              <a:ext uri="{FF2B5EF4-FFF2-40B4-BE49-F238E27FC236}">
                <a16:creationId xmlns:a16="http://schemas.microsoft.com/office/drawing/2014/main" id="{9517C692-97AD-421F-B4A5-3C3A829289DB}"/>
              </a:ext>
            </a:extLst>
          </p:cNvPr>
          <p:cNvCxnSpPr>
            <a:cxnSpLocks/>
          </p:cNvCxnSpPr>
          <p:nvPr/>
        </p:nvCxnSpPr>
        <p:spPr bwMode="auto">
          <a:xfrm>
            <a:off x="7827107" y="2837218"/>
            <a:ext cx="0" cy="483706"/>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32" name="Straight Arrow Connector 131">
            <a:extLst>
              <a:ext uri="{FF2B5EF4-FFF2-40B4-BE49-F238E27FC236}">
                <a16:creationId xmlns:a16="http://schemas.microsoft.com/office/drawing/2014/main" id="{A2E2DE75-4786-4FB7-A203-353142E575A3}"/>
              </a:ext>
            </a:extLst>
          </p:cNvPr>
          <p:cNvCxnSpPr>
            <a:cxnSpLocks/>
          </p:cNvCxnSpPr>
          <p:nvPr/>
        </p:nvCxnSpPr>
        <p:spPr bwMode="auto">
          <a:xfrm>
            <a:off x="7741990" y="2840774"/>
            <a:ext cx="12534" cy="682252"/>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33" name="Straight Arrow Connector 132">
            <a:extLst>
              <a:ext uri="{FF2B5EF4-FFF2-40B4-BE49-F238E27FC236}">
                <a16:creationId xmlns:a16="http://schemas.microsoft.com/office/drawing/2014/main" id="{A9CD88C7-F2E2-4909-B352-A14FDF093F70}"/>
              </a:ext>
            </a:extLst>
          </p:cNvPr>
          <p:cNvCxnSpPr>
            <a:cxnSpLocks/>
          </p:cNvCxnSpPr>
          <p:nvPr/>
        </p:nvCxnSpPr>
        <p:spPr bwMode="auto">
          <a:xfrm flipV="1">
            <a:off x="7654437" y="2781479"/>
            <a:ext cx="0" cy="478714"/>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34" name="Straight Arrow Connector 133">
            <a:extLst>
              <a:ext uri="{FF2B5EF4-FFF2-40B4-BE49-F238E27FC236}">
                <a16:creationId xmlns:a16="http://schemas.microsoft.com/office/drawing/2014/main" id="{89F31594-B719-47CC-B8A3-1626F4CB861A}"/>
              </a:ext>
            </a:extLst>
          </p:cNvPr>
          <p:cNvCxnSpPr>
            <a:cxnSpLocks/>
          </p:cNvCxnSpPr>
          <p:nvPr/>
        </p:nvCxnSpPr>
        <p:spPr bwMode="auto">
          <a:xfrm flipV="1">
            <a:off x="7581499" y="2780206"/>
            <a:ext cx="0" cy="690226"/>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35" name="Straight Arrow Connector 134">
            <a:extLst>
              <a:ext uri="{FF2B5EF4-FFF2-40B4-BE49-F238E27FC236}">
                <a16:creationId xmlns:a16="http://schemas.microsoft.com/office/drawing/2014/main" id="{643E6C16-468E-455B-A4A6-49C2B6C5F0BE}"/>
              </a:ext>
            </a:extLst>
          </p:cNvPr>
          <p:cNvCxnSpPr>
            <a:cxnSpLocks/>
          </p:cNvCxnSpPr>
          <p:nvPr/>
        </p:nvCxnSpPr>
        <p:spPr bwMode="auto">
          <a:xfrm flipV="1">
            <a:off x="7842068" y="3425109"/>
            <a:ext cx="0" cy="239870"/>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36" name="Straight Arrow Connector 135">
            <a:extLst>
              <a:ext uri="{FF2B5EF4-FFF2-40B4-BE49-F238E27FC236}">
                <a16:creationId xmlns:a16="http://schemas.microsoft.com/office/drawing/2014/main" id="{C8394451-36D7-4FAC-8416-35142B990C31}"/>
              </a:ext>
            </a:extLst>
          </p:cNvPr>
          <p:cNvCxnSpPr>
            <a:cxnSpLocks/>
          </p:cNvCxnSpPr>
          <p:nvPr/>
        </p:nvCxnSpPr>
        <p:spPr bwMode="auto">
          <a:xfrm>
            <a:off x="7670595" y="3450939"/>
            <a:ext cx="0" cy="294002"/>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37" name="Straight Arrow Connector 136">
            <a:extLst>
              <a:ext uri="{FF2B5EF4-FFF2-40B4-BE49-F238E27FC236}">
                <a16:creationId xmlns:a16="http://schemas.microsoft.com/office/drawing/2014/main" id="{97B8AD7B-1870-4B73-9CF6-51EB3E961168}"/>
              </a:ext>
            </a:extLst>
          </p:cNvPr>
          <p:cNvCxnSpPr>
            <a:cxnSpLocks/>
          </p:cNvCxnSpPr>
          <p:nvPr/>
        </p:nvCxnSpPr>
        <p:spPr bwMode="auto">
          <a:xfrm flipV="1">
            <a:off x="7295528" y="2767238"/>
            <a:ext cx="4653" cy="2490782"/>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38" name="Straight Arrow Connector 137">
            <a:extLst>
              <a:ext uri="{FF2B5EF4-FFF2-40B4-BE49-F238E27FC236}">
                <a16:creationId xmlns:a16="http://schemas.microsoft.com/office/drawing/2014/main" id="{4A61C939-AFF8-4CA9-B156-8465036B7ED0}"/>
              </a:ext>
            </a:extLst>
          </p:cNvPr>
          <p:cNvCxnSpPr>
            <a:cxnSpLocks/>
          </p:cNvCxnSpPr>
          <p:nvPr/>
        </p:nvCxnSpPr>
        <p:spPr bwMode="auto">
          <a:xfrm>
            <a:off x="7407074" y="3495809"/>
            <a:ext cx="0" cy="1555291"/>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39" name="Straight Arrow Connector 138">
            <a:extLst>
              <a:ext uri="{FF2B5EF4-FFF2-40B4-BE49-F238E27FC236}">
                <a16:creationId xmlns:a16="http://schemas.microsoft.com/office/drawing/2014/main" id="{108FE32E-D33D-4421-92F8-AE9B53A3D522}"/>
              </a:ext>
            </a:extLst>
          </p:cNvPr>
          <p:cNvCxnSpPr>
            <a:cxnSpLocks/>
          </p:cNvCxnSpPr>
          <p:nvPr/>
        </p:nvCxnSpPr>
        <p:spPr bwMode="auto">
          <a:xfrm>
            <a:off x="7402724" y="3492439"/>
            <a:ext cx="0" cy="1776202"/>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40" name="Straight Arrow Connector 139">
            <a:extLst>
              <a:ext uri="{FF2B5EF4-FFF2-40B4-BE49-F238E27FC236}">
                <a16:creationId xmlns:a16="http://schemas.microsoft.com/office/drawing/2014/main" id="{FF2E61C0-AC25-4FBC-98E3-9A6EBC349B73}"/>
              </a:ext>
            </a:extLst>
          </p:cNvPr>
          <p:cNvCxnSpPr>
            <a:cxnSpLocks/>
          </p:cNvCxnSpPr>
          <p:nvPr/>
        </p:nvCxnSpPr>
        <p:spPr bwMode="auto">
          <a:xfrm>
            <a:off x="7400741" y="3486646"/>
            <a:ext cx="7041" cy="2142125"/>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41" name="Straight Arrow Connector 140">
            <a:extLst>
              <a:ext uri="{FF2B5EF4-FFF2-40B4-BE49-F238E27FC236}">
                <a16:creationId xmlns:a16="http://schemas.microsoft.com/office/drawing/2014/main" id="{A90BD0D0-399D-4B47-ADBE-BEAB0D5B026F}"/>
              </a:ext>
            </a:extLst>
          </p:cNvPr>
          <p:cNvCxnSpPr>
            <a:cxnSpLocks/>
          </p:cNvCxnSpPr>
          <p:nvPr/>
        </p:nvCxnSpPr>
        <p:spPr bwMode="auto">
          <a:xfrm>
            <a:off x="7399233" y="3483906"/>
            <a:ext cx="5987" cy="2346313"/>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42" name="Straight Arrow Connector 141">
            <a:extLst>
              <a:ext uri="{FF2B5EF4-FFF2-40B4-BE49-F238E27FC236}">
                <a16:creationId xmlns:a16="http://schemas.microsoft.com/office/drawing/2014/main" id="{4651BAA0-FF1F-4AE1-B24D-203DCE360539}"/>
              </a:ext>
            </a:extLst>
          </p:cNvPr>
          <p:cNvCxnSpPr>
            <a:cxnSpLocks/>
          </p:cNvCxnSpPr>
          <p:nvPr/>
        </p:nvCxnSpPr>
        <p:spPr bwMode="auto">
          <a:xfrm>
            <a:off x="7069756" y="3317055"/>
            <a:ext cx="0" cy="1740852"/>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43" name="Straight Arrow Connector 142">
            <a:extLst>
              <a:ext uri="{FF2B5EF4-FFF2-40B4-BE49-F238E27FC236}">
                <a16:creationId xmlns:a16="http://schemas.microsoft.com/office/drawing/2014/main" id="{BC21072F-98F8-4F94-92A0-614BDBF0F924}"/>
              </a:ext>
            </a:extLst>
          </p:cNvPr>
          <p:cNvCxnSpPr>
            <a:cxnSpLocks/>
          </p:cNvCxnSpPr>
          <p:nvPr/>
        </p:nvCxnSpPr>
        <p:spPr bwMode="auto">
          <a:xfrm>
            <a:off x="7076308" y="3316439"/>
            <a:ext cx="0" cy="1952202"/>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44" name="Straight Arrow Connector 143">
            <a:extLst>
              <a:ext uri="{FF2B5EF4-FFF2-40B4-BE49-F238E27FC236}">
                <a16:creationId xmlns:a16="http://schemas.microsoft.com/office/drawing/2014/main" id="{02209A69-77EC-42D5-9596-C092BEFF2B5B}"/>
              </a:ext>
            </a:extLst>
          </p:cNvPr>
          <p:cNvCxnSpPr>
            <a:cxnSpLocks/>
          </p:cNvCxnSpPr>
          <p:nvPr/>
        </p:nvCxnSpPr>
        <p:spPr bwMode="auto">
          <a:xfrm>
            <a:off x="7065529" y="3310646"/>
            <a:ext cx="6678" cy="2318125"/>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45" name="Straight Arrow Connector 144">
            <a:extLst>
              <a:ext uri="{FF2B5EF4-FFF2-40B4-BE49-F238E27FC236}">
                <a16:creationId xmlns:a16="http://schemas.microsoft.com/office/drawing/2014/main" id="{A35FC025-5050-428A-BDBE-9127682AB0B4}"/>
              </a:ext>
            </a:extLst>
          </p:cNvPr>
          <p:cNvCxnSpPr>
            <a:cxnSpLocks/>
          </p:cNvCxnSpPr>
          <p:nvPr/>
        </p:nvCxnSpPr>
        <p:spPr bwMode="auto">
          <a:xfrm>
            <a:off x="7066469" y="3307906"/>
            <a:ext cx="10405" cy="2529884"/>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46" name="Straight Arrow Connector 145">
            <a:extLst>
              <a:ext uri="{FF2B5EF4-FFF2-40B4-BE49-F238E27FC236}">
                <a16:creationId xmlns:a16="http://schemas.microsoft.com/office/drawing/2014/main" id="{FE504BE8-B4B4-48AC-8A62-14890293D32A}"/>
              </a:ext>
            </a:extLst>
          </p:cNvPr>
          <p:cNvCxnSpPr>
            <a:cxnSpLocks/>
          </p:cNvCxnSpPr>
          <p:nvPr/>
        </p:nvCxnSpPr>
        <p:spPr bwMode="auto">
          <a:xfrm flipV="1">
            <a:off x="7065529" y="1749631"/>
            <a:ext cx="0" cy="1411929"/>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grpSp>
        <p:nvGrpSpPr>
          <p:cNvPr id="147" name="Group 146">
            <a:extLst>
              <a:ext uri="{FF2B5EF4-FFF2-40B4-BE49-F238E27FC236}">
                <a16:creationId xmlns:a16="http://schemas.microsoft.com/office/drawing/2014/main" id="{0851FE35-D120-46C1-B0EA-2813FF9EABF2}"/>
              </a:ext>
            </a:extLst>
          </p:cNvPr>
          <p:cNvGrpSpPr/>
          <p:nvPr/>
        </p:nvGrpSpPr>
        <p:grpSpPr>
          <a:xfrm>
            <a:off x="2412389" y="612501"/>
            <a:ext cx="876321" cy="5684087"/>
            <a:chOff x="1663489" y="146160"/>
            <a:chExt cx="657241" cy="4274766"/>
          </a:xfrm>
        </p:grpSpPr>
        <p:sp>
          <p:nvSpPr>
            <p:cNvPr id="148" name="TextBox 147">
              <a:extLst>
                <a:ext uri="{FF2B5EF4-FFF2-40B4-BE49-F238E27FC236}">
                  <a16:creationId xmlns:a16="http://schemas.microsoft.com/office/drawing/2014/main" id="{0B398E44-DDCC-47FE-92E6-87A02A091536}"/>
                </a:ext>
              </a:extLst>
            </p:cNvPr>
            <p:cNvSpPr txBox="1"/>
            <p:nvPr/>
          </p:nvSpPr>
          <p:spPr>
            <a:xfrm>
              <a:off x="1847877" y="191785"/>
              <a:ext cx="355867" cy="178606"/>
            </a:xfrm>
            <a:prstGeom prst="rect">
              <a:avLst/>
            </a:prstGeom>
            <a:noFill/>
          </p:spPr>
          <p:txBody>
            <a:bodyPr wrap="none" lIns="0" tIns="0" rIns="0" bIns="0" rtlCol="0">
              <a:spAutoFit/>
            </a:bodyPr>
            <a:lstStyle/>
            <a:p>
              <a:pPr algn="l"/>
              <a:r>
                <a:rPr lang="en-GB" sz="800" b="1" dirty="0"/>
                <a:t>Products/</a:t>
              </a:r>
            </a:p>
            <a:p>
              <a:pPr algn="l"/>
              <a:r>
                <a:rPr lang="en-GB" sz="800" b="1" dirty="0"/>
                <a:t>Services</a:t>
              </a:r>
            </a:p>
          </p:txBody>
        </p:sp>
        <p:sp>
          <p:nvSpPr>
            <p:cNvPr id="149" name="Rounded Rectangle 175">
              <a:extLst>
                <a:ext uri="{FF2B5EF4-FFF2-40B4-BE49-F238E27FC236}">
                  <a16:creationId xmlns:a16="http://schemas.microsoft.com/office/drawing/2014/main" id="{FAE2B7A9-E172-4C63-8CE3-BCA4A18262A7}"/>
                </a:ext>
              </a:extLst>
            </p:cNvPr>
            <p:cNvSpPr/>
            <p:nvPr/>
          </p:nvSpPr>
          <p:spPr bwMode="auto">
            <a:xfrm>
              <a:off x="1663489" y="146160"/>
              <a:ext cx="657241" cy="4274766"/>
            </a:xfrm>
            <a:prstGeom prst="roundRect">
              <a:avLst/>
            </a:prstGeom>
            <a:noFill/>
            <a:ln w="9525" cap="flat" cmpd="sng" algn="ctr">
              <a:solidFill>
                <a:schemeClr val="tx1"/>
              </a:solidFill>
              <a:prstDash val="sys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a:spcAft>
                  <a:spcPct val="0"/>
                </a:spcAft>
              </a:pPr>
              <a:endParaRPr lang="en-GB" err="1">
                <a:solidFill>
                  <a:schemeClr val="bg1"/>
                </a:solidFill>
                <a:latin typeface="Arial" charset="0"/>
                <a:ea typeface="ＭＳ Ｐゴシック" pitchFamily="48" charset="-128"/>
              </a:endParaRPr>
            </a:p>
          </p:txBody>
        </p:sp>
      </p:grpSp>
      <p:sp>
        <p:nvSpPr>
          <p:cNvPr id="150" name="Rounded Rectangle 175">
            <a:extLst>
              <a:ext uri="{FF2B5EF4-FFF2-40B4-BE49-F238E27FC236}">
                <a16:creationId xmlns:a16="http://schemas.microsoft.com/office/drawing/2014/main" id="{3E92ED2F-85A9-4E5A-AE05-9DA404E1A41F}"/>
              </a:ext>
            </a:extLst>
          </p:cNvPr>
          <p:cNvSpPr/>
          <p:nvPr/>
        </p:nvSpPr>
        <p:spPr bwMode="auto">
          <a:xfrm>
            <a:off x="3333783" y="594440"/>
            <a:ext cx="876321" cy="5715657"/>
          </a:xfrm>
          <a:prstGeom prst="roundRect">
            <a:avLst/>
          </a:prstGeom>
          <a:noFill/>
          <a:ln w="9525" cap="flat" cmpd="sng" algn="ctr">
            <a:solidFill>
              <a:schemeClr val="tx1"/>
            </a:solidFill>
            <a:prstDash val="sys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a:spcAft>
                <a:spcPct val="0"/>
              </a:spcAft>
            </a:pPr>
            <a:endParaRPr lang="en-GB" err="1">
              <a:solidFill>
                <a:schemeClr val="bg1"/>
              </a:solidFill>
              <a:latin typeface="Arial" charset="0"/>
              <a:ea typeface="ＭＳ Ｐゴシック" pitchFamily="48" charset="-128"/>
            </a:endParaRPr>
          </a:p>
        </p:txBody>
      </p:sp>
      <p:sp>
        <p:nvSpPr>
          <p:cNvPr id="151" name="Rounded Rectangle 175">
            <a:extLst>
              <a:ext uri="{FF2B5EF4-FFF2-40B4-BE49-F238E27FC236}">
                <a16:creationId xmlns:a16="http://schemas.microsoft.com/office/drawing/2014/main" id="{DED1093C-74FB-4A2C-9761-CD562261211A}"/>
              </a:ext>
            </a:extLst>
          </p:cNvPr>
          <p:cNvSpPr/>
          <p:nvPr/>
        </p:nvSpPr>
        <p:spPr bwMode="auto">
          <a:xfrm>
            <a:off x="5162726" y="602673"/>
            <a:ext cx="876321" cy="5693812"/>
          </a:xfrm>
          <a:prstGeom prst="roundRect">
            <a:avLst/>
          </a:prstGeom>
          <a:noFill/>
          <a:ln w="9525" cap="flat" cmpd="sng" algn="ctr">
            <a:solidFill>
              <a:schemeClr val="tx1"/>
            </a:solidFill>
            <a:prstDash val="sys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a:spcAft>
                <a:spcPct val="0"/>
              </a:spcAft>
            </a:pPr>
            <a:endParaRPr lang="en-GB" err="1">
              <a:solidFill>
                <a:schemeClr val="bg1"/>
              </a:solidFill>
              <a:latin typeface="Arial" charset="0"/>
              <a:ea typeface="ＭＳ Ｐゴシック" pitchFamily="48" charset="-128"/>
            </a:endParaRPr>
          </a:p>
        </p:txBody>
      </p:sp>
      <p:grpSp>
        <p:nvGrpSpPr>
          <p:cNvPr id="152" name="Group 151">
            <a:extLst>
              <a:ext uri="{FF2B5EF4-FFF2-40B4-BE49-F238E27FC236}">
                <a16:creationId xmlns:a16="http://schemas.microsoft.com/office/drawing/2014/main" id="{6FA88CB8-4AFD-49C7-A6FC-FA97E1540D9D}"/>
              </a:ext>
            </a:extLst>
          </p:cNvPr>
          <p:cNvGrpSpPr/>
          <p:nvPr/>
        </p:nvGrpSpPr>
        <p:grpSpPr>
          <a:xfrm>
            <a:off x="4238315" y="594440"/>
            <a:ext cx="876320" cy="5702097"/>
            <a:chOff x="1663489" y="146160"/>
            <a:chExt cx="657241" cy="4274766"/>
          </a:xfrm>
        </p:grpSpPr>
        <p:sp>
          <p:nvSpPr>
            <p:cNvPr id="153" name="TextBox 152">
              <a:extLst>
                <a:ext uri="{FF2B5EF4-FFF2-40B4-BE49-F238E27FC236}">
                  <a16:creationId xmlns:a16="http://schemas.microsoft.com/office/drawing/2014/main" id="{F3C904B8-BFCD-4F16-B791-C0D559C0CBDD}"/>
                </a:ext>
              </a:extLst>
            </p:cNvPr>
            <p:cNvSpPr txBox="1"/>
            <p:nvPr/>
          </p:nvSpPr>
          <p:spPr>
            <a:xfrm>
              <a:off x="1693849" y="299025"/>
              <a:ext cx="49" cy="98626"/>
            </a:xfrm>
            <a:prstGeom prst="rect">
              <a:avLst/>
            </a:prstGeom>
            <a:noFill/>
          </p:spPr>
          <p:txBody>
            <a:bodyPr wrap="none" lIns="0" tIns="0" rIns="0" bIns="0" rtlCol="0">
              <a:spAutoFit/>
            </a:bodyPr>
            <a:lstStyle/>
            <a:p>
              <a:pPr algn="l"/>
              <a:endParaRPr lang="en-GB" sz="900"/>
            </a:p>
          </p:txBody>
        </p:sp>
        <p:sp>
          <p:nvSpPr>
            <p:cNvPr id="154" name="Rounded Rectangle 175">
              <a:extLst>
                <a:ext uri="{FF2B5EF4-FFF2-40B4-BE49-F238E27FC236}">
                  <a16:creationId xmlns:a16="http://schemas.microsoft.com/office/drawing/2014/main" id="{E443FDA2-8E84-48E3-A72D-C6324E16E321}"/>
                </a:ext>
              </a:extLst>
            </p:cNvPr>
            <p:cNvSpPr/>
            <p:nvPr/>
          </p:nvSpPr>
          <p:spPr bwMode="auto">
            <a:xfrm>
              <a:off x="1663489" y="146160"/>
              <a:ext cx="657241" cy="4274766"/>
            </a:xfrm>
            <a:prstGeom prst="roundRect">
              <a:avLst/>
            </a:prstGeom>
            <a:noFill/>
            <a:ln w="9525" cap="flat" cmpd="sng" algn="ctr">
              <a:solidFill>
                <a:schemeClr val="tx1"/>
              </a:solidFill>
              <a:prstDash val="sys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a:spcAft>
                  <a:spcPct val="0"/>
                </a:spcAft>
              </a:pPr>
              <a:endParaRPr lang="en-GB" err="1">
                <a:solidFill>
                  <a:schemeClr val="bg1"/>
                </a:solidFill>
                <a:latin typeface="Arial" charset="0"/>
                <a:ea typeface="ＭＳ Ｐゴシック" pitchFamily="48" charset="-128"/>
              </a:endParaRPr>
            </a:p>
          </p:txBody>
        </p:sp>
      </p:grpSp>
      <p:sp>
        <p:nvSpPr>
          <p:cNvPr id="155" name="Rounded Rectangle 175">
            <a:extLst>
              <a:ext uri="{FF2B5EF4-FFF2-40B4-BE49-F238E27FC236}">
                <a16:creationId xmlns:a16="http://schemas.microsoft.com/office/drawing/2014/main" id="{BFA46A7E-D1BF-477A-AA59-36DED247D588}"/>
              </a:ext>
            </a:extLst>
          </p:cNvPr>
          <p:cNvSpPr/>
          <p:nvPr/>
        </p:nvSpPr>
        <p:spPr bwMode="auto">
          <a:xfrm>
            <a:off x="6079729" y="612501"/>
            <a:ext cx="876321" cy="5684858"/>
          </a:xfrm>
          <a:prstGeom prst="roundRect">
            <a:avLst/>
          </a:prstGeom>
          <a:noFill/>
          <a:ln w="9525" cap="flat" cmpd="sng" algn="ctr">
            <a:solidFill>
              <a:schemeClr val="tx1"/>
            </a:solidFill>
            <a:prstDash val="sys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a:spcAft>
                <a:spcPct val="0"/>
              </a:spcAft>
            </a:pPr>
            <a:endParaRPr lang="en-GB" err="1">
              <a:solidFill>
                <a:schemeClr val="bg1"/>
              </a:solidFill>
              <a:latin typeface="Arial" charset="0"/>
              <a:ea typeface="ＭＳ Ｐゴシック" pitchFamily="48" charset="-128"/>
            </a:endParaRPr>
          </a:p>
        </p:txBody>
      </p:sp>
      <p:cxnSp>
        <p:nvCxnSpPr>
          <p:cNvPr id="156" name="Straight Arrow Connector 155">
            <a:extLst>
              <a:ext uri="{FF2B5EF4-FFF2-40B4-BE49-F238E27FC236}">
                <a16:creationId xmlns:a16="http://schemas.microsoft.com/office/drawing/2014/main" id="{541671F0-6BF5-452E-9CED-498E32498F43}"/>
              </a:ext>
            </a:extLst>
          </p:cNvPr>
          <p:cNvCxnSpPr>
            <a:cxnSpLocks/>
          </p:cNvCxnSpPr>
          <p:nvPr/>
        </p:nvCxnSpPr>
        <p:spPr bwMode="auto">
          <a:xfrm>
            <a:off x="7688800" y="5243997"/>
            <a:ext cx="0" cy="216409"/>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57" name="Straight Arrow Connector 156">
            <a:extLst>
              <a:ext uri="{FF2B5EF4-FFF2-40B4-BE49-F238E27FC236}">
                <a16:creationId xmlns:a16="http://schemas.microsoft.com/office/drawing/2014/main" id="{D562F995-82A4-4884-BDF2-21CCDB337CFB}"/>
              </a:ext>
            </a:extLst>
          </p:cNvPr>
          <p:cNvCxnSpPr>
            <a:cxnSpLocks/>
          </p:cNvCxnSpPr>
          <p:nvPr/>
        </p:nvCxnSpPr>
        <p:spPr bwMode="auto">
          <a:xfrm>
            <a:off x="5951898" y="2811213"/>
            <a:ext cx="0" cy="672693"/>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58" name="Straight Arrow Connector 157">
            <a:extLst>
              <a:ext uri="{FF2B5EF4-FFF2-40B4-BE49-F238E27FC236}">
                <a16:creationId xmlns:a16="http://schemas.microsoft.com/office/drawing/2014/main" id="{6E9E22AF-B19F-4C53-99DE-68B2062F7276}"/>
              </a:ext>
            </a:extLst>
          </p:cNvPr>
          <p:cNvCxnSpPr>
            <a:cxnSpLocks/>
          </p:cNvCxnSpPr>
          <p:nvPr/>
        </p:nvCxnSpPr>
        <p:spPr bwMode="auto">
          <a:xfrm>
            <a:off x="5856648" y="2806462"/>
            <a:ext cx="0" cy="476044"/>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59" name="Straight Arrow Connector 158">
            <a:extLst>
              <a:ext uri="{FF2B5EF4-FFF2-40B4-BE49-F238E27FC236}">
                <a16:creationId xmlns:a16="http://schemas.microsoft.com/office/drawing/2014/main" id="{759937AC-F7E6-4CB7-8F21-C3E3541F54DD}"/>
              </a:ext>
            </a:extLst>
          </p:cNvPr>
          <p:cNvCxnSpPr>
            <a:cxnSpLocks/>
          </p:cNvCxnSpPr>
          <p:nvPr/>
        </p:nvCxnSpPr>
        <p:spPr bwMode="auto">
          <a:xfrm flipV="1">
            <a:off x="5368312" y="2770737"/>
            <a:ext cx="0" cy="672693"/>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60" name="Straight Arrow Connector 159">
            <a:extLst>
              <a:ext uri="{FF2B5EF4-FFF2-40B4-BE49-F238E27FC236}">
                <a16:creationId xmlns:a16="http://schemas.microsoft.com/office/drawing/2014/main" id="{4EF93FC7-4F1F-4915-A74C-C7C23A752529}"/>
              </a:ext>
            </a:extLst>
          </p:cNvPr>
          <p:cNvCxnSpPr>
            <a:cxnSpLocks/>
          </p:cNvCxnSpPr>
          <p:nvPr/>
        </p:nvCxnSpPr>
        <p:spPr bwMode="auto">
          <a:xfrm flipV="1">
            <a:off x="5273062" y="2765986"/>
            <a:ext cx="0" cy="476044"/>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pic>
        <p:nvPicPr>
          <p:cNvPr id="161" name="Picture 160" descr="A close up of a logo&#10;&#10;Description automatically generated">
            <a:extLst>
              <a:ext uri="{FF2B5EF4-FFF2-40B4-BE49-F238E27FC236}">
                <a16:creationId xmlns:a16="http://schemas.microsoft.com/office/drawing/2014/main" id="{8FE2C354-2C76-4299-A9CD-8108347AD77E}"/>
              </a:ext>
            </a:extLst>
          </p:cNvPr>
          <p:cNvPicPr>
            <a:picLocks noChangeAspect="1"/>
          </p:cNvPicPr>
          <p:nvPr/>
        </p:nvPicPr>
        <p:blipFill>
          <a:blip r:embed="rId4"/>
          <a:stretch>
            <a:fillRect/>
          </a:stretch>
        </p:blipFill>
        <p:spPr>
          <a:xfrm>
            <a:off x="5462209" y="2796989"/>
            <a:ext cx="162249" cy="162249"/>
          </a:xfrm>
          <a:prstGeom prst="rect">
            <a:avLst/>
          </a:prstGeom>
        </p:spPr>
      </p:pic>
      <p:cxnSp>
        <p:nvCxnSpPr>
          <p:cNvPr id="162" name="Straight Arrow Connector 161">
            <a:extLst>
              <a:ext uri="{FF2B5EF4-FFF2-40B4-BE49-F238E27FC236}">
                <a16:creationId xmlns:a16="http://schemas.microsoft.com/office/drawing/2014/main" id="{232E0059-0500-42CC-990B-6C5E6F58841E}"/>
              </a:ext>
            </a:extLst>
          </p:cNvPr>
          <p:cNvCxnSpPr>
            <a:cxnSpLocks/>
          </p:cNvCxnSpPr>
          <p:nvPr/>
        </p:nvCxnSpPr>
        <p:spPr bwMode="auto">
          <a:xfrm flipH="1" flipV="1">
            <a:off x="5204621" y="3402548"/>
            <a:ext cx="7100" cy="613402"/>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63" name="Straight Arrow Connector 162">
            <a:extLst>
              <a:ext uri="{FF2B5EF4-FFF2-40B4-BE49-F238E27FC236}">
                <a16:creationId xmlns:a16="http://schemas.microsoft.com/office/drawing/2014/main" id="{9CF10047-7855-4085-B3FC-C33BE29F1942}"/>
              </a:ext>
            </a:extLst>
          </p:cNvPr>
          <p:cNvCxnSpPr>
            <a:cxnSpLocks/>
          </p:cNvCxnSpPr>
          <p:nvPr/>
        </p:nvCxnSpPr>
        <p:spPr bwMode="auto">
          <a:xfrm>
            <a:off x="5281460" y="3441062"/>
            <a:ext cx="11081" cy="628057"/>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sp>
        <p:nvSpPr>
          <p:cNvPr id="164" name="Rectangle 163">
            <a:extLst>
              <a:ext uri="{FF2B5EF4-FFF2-40B4-BE49-F238E27FC236}">
                <a16:creationId xmlns:a16="http://schemas.microsoft.com/office/drawing/2014/main" id="{CAA8FBC1-A78A-496D-A6BC-DD7CBD1C9282}"/>
              </a:ext>
            </a:extLst>
          </p:cNvPr>
          <p:cNvSpPr/>
          <p:nvPr/>
        </p:nvSpPr>
        <p:spPr bwMode="auto">
          <a:xfrm>
            <a:off x="5120201" y="4288875"/>
            <a:ext cx="948761" cy="525167"/>
          </a:xfrm>
          <a:prstGeom prst="rect">
            <a:avLst/>
          </a:prstGeom>
          <a:solidFill>
            <a:srgbClr val="FFFF99"/>
          </a:solidFill>
          <a:ln w="9525" cap="flat" cmpd="sng" algn="ctr">
            <a:solidFill>
              <a:srgbClr val="3366CC"/>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r>
              <a:rPr lang="en-US" sz="700">
                <a:solidFill>
                  <a:srgbClr val="000000"/>
                </a:solidFill>
                <a:latin typeface="+mn-lt"/>
                <a:cs typeface="Arial"/>
              </a:rPr>
              <a:t>Need to find more details about CRIS GIS Feed</a:t>
            </a:r>
          </a:p>
        </p:txBody>
      </p:sp>
      <p:cxnSp>
        <p:nvCxnSpPr>
          <p:cNvPr id="165" name="Straight Arrow Connector 164">
            <a:extLst>
              <a:ext uri="{FF2B5EF4-FFF2-40B4-BE49-F238E27FC236}">
                <a16:creationId xmlns:a16="http://schemas.microsoft.com/office/drawing/2014/main" id="{A35E09E9-656D-4966-ADAD-4B9EE3082D25}"/>
              </a:ext>
            </a:extLst>
          </p:cNvPr>
          <p:cNvCxnSpPr>
            <a:cxnSpLocks/>
          </p:cNvCxnSpPr>
          <p:nvPr/>
        </p:nvCxnSpPr>
        <p:spPr bwMode="auto">
          <a:xfrm>
            <a:off x="8676583" y="3282506"/>
            <a:ext cx="0" cy="596302"/>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66" name="Straight Arrow Connector 165">
            <a:extLst>
              <a:ext uri="{FF2B5EF4-FFF2-40B4-BE49-F238E27FC236}">
                <a16:creationId xmlns:a16="http://schemas.microsoft.com/office/drawing/2014/main" id="{7518BBF4-5163-42FC-995E-1A28685B56B7}"/>
              </a:ext>
            </a:extLst>
          </p:cNvPr>
          <p:cNvCxnSpPr>
            <a:cxnSpLocks/>
          </p:cNvCxnSpPr>
          <p:nvPr/>
        </p:nvCxnSpPr>
        <p:spPr bwMode="auto">
          <a:xfrm>
            <a:off x="8289577" y="3433917"/>
            <a:ext cx="0" cy="474617"/>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67" name="Straight Arrow Connector 166">
            <a:extLst>
              <a:ext uri="{FF2B5EF4-FFF2-40B4-BE49-F238E27FC236}">
                <a16:creationId xmlns:a16="http://schemas.microsoft.com/office/drawing/2014/main" id="{D62CA04E-0D24-4C91-9267-A6BE65E24656}"/>
              </a:ext>
            </a:extLst>
          </p:cNvPr>
          <p:cNvCxnSpPr>
            <a:cxnSpLocks/>
          </p:cNvCxnSpPr>
          <p:nvPr/>
        </p:nvCxnSpPr>
        <p:spPr bwMode="auto">
          <a:xfrm flipH="1" flipV="1">
            <a:off x="8620225" y="3249199"/>
            <a:ext cx="4556" cy="592661"/>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68" name="Straight Arrow Connector 167">
            <a:extLst>
              <a:ext uri="{FF2B5EF4-FFF2-40B4-BE49-F238E27FC236}">
                <a16:creationId xmlns:a16="http://schemas.microsoft.com/office/drawing/2014/main" id="{59FEFAE7-7EBE-425D-89F2-33BA02603F5C}"/>
              </a:ext>
            </a:extLst>
          </p:cNvPr>
          <p:cNvCxnSpPr>
            <a:cxnSpLocks/>
          </p:cNvCxnSpPr>
          <p:nvPr/>
        </p:nvCxnSpPr>
        <p:spPr bwMode="auto">
          <a:xfrm flipV="1">
            <a:off x="8216449" y="3395817"/>
            <a:ext cx="0" cy="474617"/>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69" name="Straight Arrow Connector 168">
            <a:extLst>
              <a:ext uri="{FF2B5EF4-FFF2-40B4-BE49-F238E27FC236}">
                <a16:creationId xmlns:a16="http://schemas.microsoft.com/office/drawing/2014/main" id="{AC399550-38C8-42FE-A002-1B8225AA8241}"/>
              </a:ext>
            </a:extLst>
          </p:cNvPr>
          <p:cNvCxnSpPr>
            <a:cxnSpLocks/>
          </p:cNvCxnSpPr>
          <p:nvPr/>
        </p:nvCxnSpPr>
        <p:spPr bwMode="auto">
          <a:xfrm>
            <a:off x="8138330" y="3420516"/>
            <a:ext cx="12672" cy="830211"/>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70" name="Straight Arrow Connector 169">
            <a:extLst>
              <a:ext uri="{FF2B5EF4-FFF2-40B4-BE49-F238E27FC236}">
                <a16:creationId xmlns:a16="http://schemas.microsoft.com/office/drawing/2014/main" id="{12D8A957-1408-4B45-82FF-A14803D515BC}"/>
              </a:ext>
            </a:extLst>
          </p:cNvPr>
          <p:cNvCxnSpPr>
            <a:cxnSpLocks/>
          </p:cNvCxnSpPr>
          <p:nvPr/>
        </p:nvCxnSpPr>
        <p:spPr bwMode="auto">
          <a:xfrm flipH="1" flipV="1">
            <a:off x="8057936" y="3378582"/>
            <a:ext cx="12916" cy="840778"/>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71" name="Straight Arrow Connector 170">
            <a:extLst>
              <a:ext uri="{FF2B5EF4-FFF2-40B4-BE49-F238E27FC236}">
                <a16:creationId xmlns:a16="http://schemas.microsoft.com/office/drawing/2014/main" id="{8E1E2D47-CD62-4C9B-8521-F383887B149D}"/>
              </a:ext>
            </a:extLst>
          </p:cNvPr>
          <p:cNvCxnSpPr>
            <a:cxnSpLocks/>
          </p:cNvCxnSpPr>
          <p:nvPr/>
        </p:nvCxnSpPr>
        <p:spPr bwMode="auto">
          <a:xfrm>
            <a:off x="8413581" y="3450939"/>
            <a:ext cx="0" cy="609995"/>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72" name="Straight Arrow Connector 171">
            <a:extLst>
              <a:ext uri="{FF2B5EF4-FFF2-40B4-BE49-F238E27FC236}">
                <a16:creationId xmlns:a16="http://schemas.microsoft.com/office/drawing/2014/main" id="{5DD5AF94-215F-452E-9286-EA2DF4C58D02}"/>
              </a:ext>
            </a:extLst>
          </p:cNvPr>
          <p:cNvCxnSpPr>
            <a:cxnSpLocks/>
          </p:cNvCxnSpPr>
          <p:nvPr/>
        </p:nvCxnSpPr>
        <p:spPr bwMode="auto">
          <a:xfrm flipV="1">
            <a:off x="8354101" y="3378583"/>
            <a:ext cx="0" cy="644252"/>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73" name="Straight Arrow Connector 172">
            <a:extLst>
              <a:ext uri="{FF2B5EF4-FFF2-40B4-BE49-F238E27FC236}">
                <a16:creationId xmlns:a16="http://schemas.microsoft.com/office/drawing/2014/main" id="{3DC446A8-6DAE-4FB0-871D-3B9601F85A0D}"/>
              </a:ext>
            </a:extLst>
          </p:cNvPr>
          <p:cNvCxnSpPr>
            <a:cxnSpLocks/>
          </p:cNvCxnSpPr>
          <p:nvPr/>
        </p:nvCxnSpPr>
        <p:spPr bwMode="auto">
          <a:xfrm flipV="1">
            <a:off x="8032626" y="1765500"/>
            <a:ext cx="0" cy="1411929"/>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74" name="Straight Arrow Connector 173">
            <a:extLst>
              <a:ext uri="{FF2B5EF4-FFF2-40B4-BE49-F238E27FC236}">
                <a16:creationId xmlns:a16="http://schemas.microsoft.com/office/drawing/2014/main" id="{E161199A-A915-481B-853D-D64740772787}"/>
              </a:ext>
            </a:extLst>
          </p:cNvPr>
          <p:cNvCxnSpPr>
            <a:cxnSpLocks/>
          </p:cNvCxnSpPr>
          <p:nvPr/>
        </p:nvCxnSpPr>
        <p:spPr bwMode="auto">
          <a:xfrm>
            <a:off x="8035348" y="3306028"/>
            <a:ext cx="0" cy="1740852"/>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75" name="Straight Arrow Connector 174">
            <a:extLst>
              <a:ext uri="{FF2B5EF4-FFF2-40B4-BE49-F238E27FC236}">
                <a16:creationId xmlns:a16="http://schemas.microsoft.com/office/drawing/2014/main" id="{93D8FE6A-EF80-4D07-AFD3-ABA5AFD38F43}"/>
              </a:ext>
            </a:extLst>
          </p:cNvPr>
          <p:cNvCxnSpPr>
            <a:cxnSpLocks/>
          </p:cNvCxnSpPr>
          <p:nvPr/>
        </p:nvCxnSpPr>
        <p:spPr bwMode="auto">
          <a:xfrm>
            <a:off x="8041900" y="3305412"/>
            <a:ext cx="0" cy="1952202"/>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76" name="Straight Arrow Connector 175">
            <a:extLst>
              <a:ext uri="{FF2B5EF4-FFF2-40B4-BE49-F238E27FC236}">
                <a16:creationId xmlns:a16="http://schemas.microsoft.com/office/drawing/2014/main" id="{746632A5-EF22-4634-9350-05DB5ED15E17}"/>
              </a:ext>
            </a:extLst>
          </p:cNvPr>
          <p:cNvCxnSpPr>
            <a:cxnSpLocks/>
          </p:cNvCxnSpPr>
          <p:nvPr/>
        </p:nvCxnSpPr>
        <p:spPr bwMode="auto">
          <a:xfrm>
            <a:off x="8031121" y="3299619"/>
            <a:ext cx="6678" cy="2318125"/>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77" name="Straight Arrow Connector 176">
            <a:extLst>
              <a:ext uri="{FF2B5EF4-FFF2-40B4-BE49-F238E27FC236}">
                <a16:creationId xmlns:a16="http://schemas.microsoft.com/office/drawing/2014/main" id="{DC19F1E3-7375-4A37-9844-53F005191092}"/>
              </a:ext>
            </a:extLst>
          </p:cNvPr>
          <p:cNvCxnSpPr>
            <a:cxnSpLocks/>
          </p:cNvCxnSpPr>
          <p:nvPr/>
        </p:nvCxnSpPr>
        <p:spPr bwMode="auto">
          <a:xfrm>
            <a:off x="8032061" y="3296879"/>
            <a:ext cx="10405" cy="2529884"/>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78" name="Straight Arrow Connector 177">
            <a:extLst>
              <a:ext uri="{FF2B5EF4-FFF2-40B4-BE49-F238E27FC236}">
                <a16:creationId xmlns:a16="http://schemas.microsoft.com/office/drawing/2014/main" id="{685CC2BD-F0B9-43E1-B8A7-DA704CE4FD33}"/>
              </a:ext>
            </a:extLst>
          </p:cNvPr>
          <p:cNvCxnSpPr>
            <a:cxnSpLocks/>
          </p:cNvCxnSpPr>
          <p:nvPr/>
        </p:nvCxnSpPr>
        <p:spPr bwMode="auto">
          <a:xfrm>
            <a:off x="8593889" y="5234342"/>
            <a:ext cx="0" cy="216409"/>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79" name="Straight Arrow Connector 178">
            <a:extLst>
              <a:ext uri="{FF2B5EF4-FFF2-40B4-BE49-F238E27FC236}">
                <a16:creationId xmlns:a16="http://schemas.microsoft.com/office/drawing/2014/main" id="{D886F346-C446-4D51-BD6D-01E912AD25D0}"/>
              </a:ext>
            </a:extLst>
          </p:cNvPr>
          <p:cNvCxnSpPr>
            <a:cxnSpLocks/>
          </p:cNvCxnSpPr>
          <p:nvPr/>
        </p:nvCxnSpPr>
        <p:spPr bwMode="auto">
          <a:xfrm>
            <a:off x="8752700" y="3505222"/>
            <a:ext cx="0" cy="1555291"/>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80" name="Straight Arrow Connector 179">
            <a:extLst>
              <a:ext uri="{FF2B5EF4-FFF2-40B4-BE49-F238E27FC236}">
                <a16:creationId xmlns:a16="http://schemas.microsoft.com/office/drawing/2014/main" id="{57BED401-C73E-4D79-888E-D3BDBA85B7C9}"/>
              </a:ext>
            </a:extLst>
          </p:cNvPr>
          <p:cNvCxnSpPr>
            <a:cxnSpLocks/>
          </p:cNvCxnSpPr>
          <p:nvPr/>
        </p:nvCxnSpPr>
        <p:spPr bwMode="auto">
          <a:xfrm>
            <a:off x="8748350" y="3501852"/>
            <a:ext cx="0" cy="1776202"/>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81" name="Straight Arrow Connector 180">
            <a:extLst>
              <a:ext uri="{FF2B5EF4-FFF2-40B4-BE49-F238E27FC236}">
                <a16:creationId xmlns:a16="http://schemas.microsoft.com/office/drawing/2014/main" id="{52279B02-5E5E-4E56-842C-59F074EBB761}"/>
              </a:ext>
            </a:extLst>
          </p:cNvPr>
          <p:cNvCxnSpPr>
            <a:cxnSpLocks/>
          </p:cNvCxnSpPr>
          <p:nvPr/>
        </p:nvCxnSpPr>
        <p:spPr bwMode="auto">
          <a:xfrm>
            <a:off x="8746367" y="3496059"/>
            <a:ext cx="7041" cy="2142125"/>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82" name="Straight Arrow Connector 181">
            <a:extLst>
              <a:ext uri="{FF2B5EF4-FFF2-40B4-BE49-F238E27FC236}">
                <a16:creationId xmlns:a16="http://schemas.microsoft.com/office/drawing/2014/main" id="{A1AFF002-4E82-4675-B52D-D31E94946C77}"/>
              </a:ext>
            </a:extLst>
          </p:cNvPr>
          <p:cNvCxnSpPr>
            <a:cxnSpLocks/>
          </p:cNvCxnSpPr>
          <p:nvPr/>
        </p:nvCxnSpPr>
        <p:spPr bwMode="auto">
          <a:xfrm>
            <a:off x="8744859" y="3493319"/>
            <a:ext cx="5987" cy="2346313"/>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83" name="Straight Arrow Connector 182">
            <a:extLst>
              <a:ext uri="{FF2B5EF4-FFF2-40B4-BE49-F238E27FC236}">
                <a16:creationId xmlns:a16="http://schemas.microsoft.com/office/drawing/2014/main" id="{F04EC35C-6738-406A-8A93-7D27BF7C84B8}"/>
              </a:ext>
            </a:extLst>
          </p:cNvPr>
          <p:cNvCxnSpPr>
            <a:cxnSpLocks/>
          </p:cNvCxnSpPr>
          <p:nvPr/>
        </p:nvCxnSpPr>
        <p:spPr bwMode="auto">
          <a:xfrm>
            <a:off x="9525768" y="5233494"/>
            <a:ext cx="0" cy="216409"/>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84" name="Straight Arrow Connector 183">
            <a:extLst>
              <a:ext uri="{FF2B5EF4-FFF2-40B4-BE49-F238E27FC236}">
                <a16:creationId xmlns:a16="http://schemas.microsoft.com/office/drawing/2014/main" id="{DB24F5C4-8CAF-4EE9-9BA9-AF3D647FEAA2}"/>
              </a:ext>
            </a:extLst>
          </p:cNvPr>
          <p:cNvCxnSpPr>
            <a:cxnSpLocks/>
          </p:cNvCxnSpPr>
          <p:nvPr/>
        </p:nvCxnSpPr>
        <p:spPr bwMode="auto">
          <a:xfrm>
            <a:off x="9684579" y="3504374"/>
            <a:ext cx="0" cy="1555291"/>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85" name="Straight Arrow Connector 184">
            <a:extLst>
              <a:ext uri="{FF2B5EF4-FFF2-40B4-BE49-F238E27FC236}">
                <a16:creationId xmlns:a16="http://schemas.microsoft.com/office/drawing/2014/main" id="{D068341B-232B-47A4-B4A1-5FBE84C9A13B}"/>
              </a:ext>
            </a:extLst>
          </p:cNvPr>
          <p:cNvCxnSpPr>
            <a:cxnSpLocks/>
          </p:cNvCxnSpPr>
          <p:nvPr/>
        </p:nvCxnSpPr>
        <p:spPr bwMode="auto">
          <a:xfrm>
            <a:off x="9680229" y="3501004"/>
            <a:ext cx="0" cy="1776202"/>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86" name="Straight Arrow Connector 185">
            <a:extLst>
              <a:ext uri="{FF2B5EF4-FFF2-40B4-BE49-F238E27FC236}">
                <a16:creationId xmlns:a16="http://schemas.microsoft.com/office/drawing/2014/main" id="{403BBD80-42F5-4C3D-8ED7-E1C8B776FBCE}"/>
              </a:ext>
            </a:extLst>
          </p:cNvPr>
          <p:cNvCxnSpPr>
            <a:cxnSpLocks/>
          </p:cNvCxnSpPr>
          <p:nvPr/>
        </p:nvCxnSpPr>
        <p:spPr bwMode="auto">
          <a:xfrm>
            <a:off x="9678246" y="3495211"/>
            <a:ext cx="7041" cy="2142125"/>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87" name="Straight Arrow Connector 186">
            <a:extLst>
              <a:ext uri="{FF2B5EF4-FFF2-40B4-BE49-F238E27FC236}">
                <a16:creationId xmlns:a16="http://schemas.microsoft.com/office/drawing/2014/main" id="{8FD14F50-8686-4B05-B1F7-ADAB377F9718}"/>
              </a:ext>
            </a:extLst>
          </p:cNvPr>
          <p:cNvCxnSpPr>
            <a:cxnSpLocks/>
          </p:cNvCxnSpPr>
          <p:nvPr/>
        </p:nvCxnSpPr>
        <p:spPr bwMode="auto">
          <a:xfrm>
            <a:off x="9676738" y="3492471"/>
            <a:ext cx="5987" cy="2346313"/>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88" name="Straight Arrow Connector 187">
            <a:extLst>
              <a:ext uri="{FF2B5EF4-FFF2-40B4-BE49-F238E27FC236}">
                <a16:creationId xmlns:a16="http://schemas.microsoft.com/office/drawing/2014/main" id="{3E8CD152-299E-4488-934E-DA6B40C71EEA}"/>
              </a:ext>
            </a:extLst>
          </p:cNvPr>
          <p:cNvCxnSpPr>
            <a:cxnSpLocks/>
          </p:cNvCxnSpPr>
          <p:nvPr/>
        </p:nvCxnSpPr>
        <p:spPr bwMode="auto">
          <a:xfrm>
            <a:off x="8985184" y="3282506"/>
            <a:ext cx="0" cy="1771493"/>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89" name="Straight Arrow Connector 188">
            <a:extLst>
              <a:ext uri="{FF2B5EF4-FFF2-40B4-BE49-F238E27FC236}">
                <a16:creationId xmlns:a16="http://schemas.microsoft.com/office/drawing/2014/main" id="{B9F364FE-191B-43C4-9B31-0C0F0BFBACA3}"/>
              </a:ext>
            </a:extLst>
          </p:cNvPr>
          <p:cNvCxnSpPr>
            <a:cxnSpLocks/>
          </p:cNvCxnSpPr>
          <p:nvPr/>
        </p:nvCxnSpPr>
        <p:spPr bwMode="auto">
          <a:xfrm>
            <a:off x="8988785" y="3282506"/>
            <a:ext cx="0" cy="1989034"/>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90" name="Straight Arrow Connector 189">
            <a:extLst>
              <a:ext uri="{FF2B5EF4-FFF2-40B4-BE49-F238E27FC236}">
                <a16:creationId xmlns:a16="http://schemas.microsoft.com/office/drawing/2014/main" id="{710D58AE-CDFF-44A0-B179-5EEB44301361}"/>
              </a:ext>
            </a:extLst>
          </p:cNvPr>
          <p:cNvCxnSpPr>
            <a:cxnSpLocks/>
          </p:cNvCxnSpPr>
          <p:nvPr/>
        </p:nvCxnSpPr>
        <p:spPr bwMode="auto">
          <a:xfrm>
            <a:off x="8965321" y="3282506"/>
            <a:ext cx="20571" cy="2349164"/>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91" name="Straight Arrow Connector 190">
            <a:extLst>
              <a:ext uri="{FF2B5EF4-FFF2-40B4-BE49-F238E27FC236}">
                <a16:creationId xmlns:a16="http://schemas.microsoft.com/office/drawing/2014/main" id="{A18F60A6-4D53-4783-AB6B-5DAC74C3DC25}"/>
              </a:ext>
            </a:extLst>
          </p:cNvPr>
          <p:cNvCxnSpPr>
            <a:cxnSpLocks/>
          </p:cNvCxnSpPr>
          <p:nvPr/>
        </p:nvCxnSpPr>
        <p:spPr bwMode="auto">
          <a:xfrm>
            <a:off x="8977459" y="3282506"/>
            <a:ext cx="13823" cy="2550612"/>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92" name="Straight Arrow Connector 191">
            <a:extLst>
              <a:ext uri="{FF2B5EF4-FFF2-40B4-BE49-F238E27FC236}">
                <a16:creationId xmlns:a16="http://schemas.microsoft.com/office/drawing/2014/main" id="{308C4852-83B6-4868-BD34-A8C15D3DD94F}"/>
              </a:ext>
            </a:extLst>
          </p:cNvPr>
          <p:cNvCxnSpPr>
            <a:cxnSpLocks/>
          </p:cNvCxnSpPr>
          <p:nvPr/>
        </p:nvCxnSpPr>
        <p:spPr bwMode="auto">
          <a:xfrm>
            <a:off x="10433077" y="5234342"/>
            <a:ext cx="0" cy="216409"/>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93" name="Straight Arrow Connector 192">
            <a:extLst>
              <a:ext uri="{FF2B5EF4-FFF2-40B4-BE49-F238E27FC236}">
                <a16:creationId xmlns:a16="http://schemas.microsoft.com/office/drawing/2014/main" id="{CC07A86A-C0E9-426A-91FB-F8D11967EC57}"/>
              </a:ext>
            </a:extLst>
          </p:cNvPr>
          <p:cNvCxnSpPr>
            <a:cxnSpLocks/>
          </p:cNvCxnSpPr>
          <p:nvPr/>
        </p:nvCxnSpPr>
        <p:spPr bwMode="auto">
          <a:xfrm>
            <a:off x="10591888" y="3505222"/>
            <a:ext cx="0" cy="1555291"/>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94" name="Straight Arrow Connector 193">
            <a:extLst>
              <a:ext uri="{FF2B5EF4-FFF2-40B4-BE49-F238E27FC236}">
                <a16:creationId xmlns:a16="http://schemas.microsoft.com/office/drawing/2014/main" id="{81D329C5-9037-4A88-B974-C5E6BFC23A42}"/>
              </a:ext>
            </a:extLst>
          </p:cNvPr>
          <p:cNvCxnSpPr>
            <a:cxnSpLocks/>
          </p:cNvCxnSpPr>
          <p:nvPr/>
        </p:nvCxnSpPr>
        <p:spPr bwMode="auto">
          <a:xfrm>
            <a:off x="10587538" y="3501852"/>
            <a:ext cx="0" cy="1776202"/>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95" name="Straight Arrow Connector 194">
            <a:extLst>
              <a:ext uri="{FF2B5EF4-FFF2-40B4-BE49-F238E27FC236}">
                <a16:creationId xmlns:a16="http://schemas.microsoft.com/office/drawing/2014/main" id="{ED465C5F-82C4-4367-9E55-574845116FB1}"/>
              </a:ext>
            </a:extLst>
          </p:cNvPr>
          <p:cNvCxnSpPr>
            <a:cxnSpLocks/>
          </p:cNvCxnSpPr>
          <p:nvPr/>
        </p:nvCxnSpPr>
        <p:spPr bwMode="auto">
          <a:xfrm>
            <a:off x="10585555" y="3496059"/>
            <a:ext cx="7041" cy="2142125"/>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96" name="Straight Arrow Connector 195">
            <a:extLst>
              <a:ext uri="{FF2B5EF4-FFF2-40B4-BE49-F238E27FC236}">
                <a16:creationId xmlns:a16="http://schemas.microsoft.com/office/drawing/2014/main" id="{3C104214-9053-46D6-A7B1-CA0E47191527}"/>
              </a:ext>
            </a:extLst>
          </p:cNvPr>
          <p:cNvCxnSpPr>
            <a:cxnSpLocks/>
          </p:cNvCxnSpPr>
          <p:nvPr/>
        </p:nvCxnSpPr>
        <p:spPr bwMode="auto">
          <a:xfrm>
            <a:off x="10584047" y="3493319"/>
            <a:ext cx="5987" cy="2346313"/>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97" name="Straight Arrow Connector 196">
            <a:extLst>
              <a:ext uri="{FF2B5EF4-FFF2-40B4-BE49-F238E27FC236}">
                <a16:creationId xmlns:a16="http://schemas.microsoft.com/office/drawing/2014/main" id="{87B695AB-649E-4C55-B687-E72A0F3D55F6}"/>
              </a:ext>
            </a:extLst>
          </p:cNvPr>
          <p:cNvCxnSpPr>
            <a:cxnSpLocks/>
          </p:cNvCxnSpPr>
          <p:nvPr/>
        </p:nvCxnSpPr>
        <p:spPr bwMode="auto">
          <a:xfrm>
            <a:off x="9892493" y="3283354"/>
            <a:ext cx="0" cy="1771493"/>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98" name="Straight Arrow Connector 197">
            <a:extLst>
              <a:ext uri="{FF2B5EF4-FFF2-40B4-BE49-F238E27FC236}">
                <a16:creationId xmlns:a16="http://schemas.microsoft.com/office/drawing/2014/main" id="{52907EE8-CD94-4EB0-98E9-EEF9377C5012}"/>
              </a:ext>
            </a:extLst>
          </p:cNvPr>
          <p:cNvCxnSpPr>
            <a:cxnSpLocks/>
          </p:cNvCxnSpPr>
          <p:nvPr/>
        </p:nvCxnSpPr>
        <p:spPr bwMode="auto">
          <a:xfrm>
            <a:off x="9896094" y="3283354"/>
            <a:ext cx="0" cy="1989034"/>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99" name="Straight Arrow Connector 198">
            <a:extLst>
              <a:ext uri="{FF2B5EF4-FFF2-40B4-BE49-F238E27FC236}">
                <a16:creationId xmlns:a16="http://schemas.microsoft.com/office/drawing/2014/main" id="{082BB528-50B7-4F86-BAA9-748A59312FDF}"/>
              </a:ext>
            </a:extLst>
          </p:cNvPr>
          <p:cNvCxnSpPr>
            <a:cxnSpLocks/>
          </p:cNvCxnSpPr>
          <p:nvPr/>
        </p:nvCxnSpPr>
        <p:spPr bwMode="auto">
          <a:xfrm>
            <a:off x="9872630" y="3283354"/>
            <a:ext cx="20571" cy="2349164"/>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00" name="Straight Arrow Connector 199">
            <a:extLst>
              <a:ext uri="{FF2B5EF4-FFF2-40B4-BE49-F238E27FC236}">
                <a16:creationId xmlns:a16="http://schemas.microsoft.com/office/drawing/2014/main" id="{D956282E-D863-4D37-9462-7CF525AB51FA}"/>
              </a:ext>
            </a:extLst>
          </p:cNvPr>
          <p:cNvCxnSpPr>
            <a:cxnSpLocks/>
          </p:cNvCxnSpPr>
          <p:nvPr/>
        </p:nvCxnSpPr>
        <p:spPr bwMode="auto">
          <a:xfrm>
            <a:off x="9884768" y="3283354"/>
            <a:ext cx="13823" cy="2550612"/>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01" name="Straight Arrow Connector 200">
            <a:extLst>
              <a:ext uri="{FF2B5EF4-FFF2-40B4-BE49-F238E27FC236}">
                <a16:creationId xmlns:a16="http://schemas.microsoft.com/office/drawing/2014/main" id="{FE3A5B9E-368B-4B70-AB79-A1B2F8E65A35}"/>
              </a:ext>
            </a:extLst>
          </p:cNvPr>
          <p:cNvCxnSpPr>
            <a:cxnSpLocks/>
          </p:cNvCxnSpPr>
          <p:nvPr/>
        </p:nvCxnSpPr>
        <p:spPr bwMode="auto">
          <a:xfrm flipV="1">
            <a:off x="10033014" y="2793049"/>
            <a:ext cx="4653" cy="2490782"/>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02" name="Straight Arrow Connector 201">
            <a:extLst>
              <a:ext uri="{FF2B5EF4-FFF2-40B4-BE49-F238E27FC236}">
                <a16:creationId xmlns:a16="http://schemas.microsoft.com/office/drawing/2014/main" id="{FA2B01DA-9C75-4E7F-B4AF-AA62DC4E2124}"/>
              </a:ext>
            </a:extLst>
          </p:cNvPr>
          <p:cNvCxnSpPr>
            <a:cxnSpLocks/>
          </p:cNvCxnSpPr>
          <p:nvPr/>
        </p:nvCxnSpPr>
        <p:spPr bwMode="auto">
          <a:xfrm>
            <a:off x="10852055" y="3449134"/>
            <a:ext cx="5194" cy="1386319"/>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03" name="Straight Arrow Connector 202">
            <a:extLst>
              <a:ext uri="{FF2B5EF4-FFF2-40B4-BE49-F238E27FC236}">
                <a16:creationId xmlns:a16="http://schemas.microsoft.com/office/drawing/2014/main" id="{65CE6D5E-776E-4290-ACA9-CB8C41F0FA83}"/>
              </a:ext>
            </a:extLst>
          </p:cNvPr>
          <p:cNvCxnSpPr>
            <a:cxnSpLocks/>
          </p:cNvCxnSpPr>
          <p:nvPr/>
        </p:nvCxnSpPr>
        <p:spPr bwMode="auto">
          <a:xfrm>
            <a:off x="10980298" y="3242725"/>
            <a:ext cx="27079" cy="1601675"/>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04" name="Straight Arrow Connector 203">
            <a:extLst>
              <a:ext uri="{FF2B5EF4-FFF2-40B4-BE49-F238E27FC236}">
                <a16:creationId xmlns:a16="http://schemas.microsoft.com/office/drawing/2014/main" id="{DCB41B2A-F93C-4AAA-8C7E-728098CAB671}"/>
              </a:ext>
            </a:extLst>
          </p:cNvPr>
          <p:cNvCxnSpPr>
            <a:cxnSpLocks/>
          </p:cNvCxnSpPr>
          <p:nvPr/>
        </p:nvCxnSpPr>
        <p:spPr bwMode="auto">
          <a:xfrm>
            <a:off x="11123951" y="3068821"/>
            <a:ext cx="12463" cy="1775579"/>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05" name="Straight Arrow Connector 204">
            <a:extLst>
              <a:ext uri="{FF2B5EF4-FFF2-40B4-BE49-F238E27FC236}">
                <a16:creationId xmlns:a16="http://schemas.microsoft.com/office/drawing/2014/main" id="{B44D00F2-FC7A-4BAA-81AF-6E7B718501DC}"/>
              </a:ext>
            </a:extLst>
          </p:cNvPr>
          <p:cNvCxnSpPr>
            <a:cxnSpLocks/>
          </p:cNvCxnSpPr>
          <p:nvPr/>
        </p:nvCxnSpPr>
        <p:spPr bwMode="auto">
          <a:xfrm flipH="1" flipV="1">
            <a:off x="10359959" y="3041368"/>
            <a:ext cx="8222" cy="2617623"/>
          </a:xfrm>
          <a:prstGeom prst="straightConnector1">
            <a:avLst/>
          </a:prstGeom>
          <a:ln w="9525" cap="flat" cmpd="sng" algn="ctr">
            <a:solidFill>
              <a:srgbClr val="FF0000"/>
            </a:solidFill>
            <a:prstDash val="dash"/>
            <a:round/>
            <a:headEnd type="oval" w="med" len="med"/>
            <a:tailEnd type="arrow" w="med" len="med"/>
          </a:ln>
        </p:spPr>
        <p:style>
          <a:lnRef idx="0">
            <a:scrgbClr r="0" g="0" b="0"/>
          </a:lnRef>
          <a:fillRef idx="0">
            <a:scrgbClr r="0" g="0" b="0"/>
          </a:fillRef>
          <a:effectRef idx="0">
            <a:scrgbClr r="0" g="0" b="0"/>
          </a:effectRef>
          <a:fontRef idx="minor">
            <a:schemeClr val="tx1"/>
          </a:fontRef>
        </p:style>
      </p:cxnSp>
      <p:sp>
        <p:nvSpPr>
          <p:cNvPr id="206" name="TextBox 205">
            <a:extLst>
              <a:ext uri="{FF2B5EF4-FFF2-40B4-BE49-F238E27FC236}">
                <a16:creationId xmlns:a16="http://schemas.microsoft.com/office/drawing/2014/main" id="{4368DAD9-892C-4DD2-B7C3-05F11E7133A0}"/>
              </a:ext>
            </a:extLst>
          </p:cNvPr>
          <p:cNvSpPr txBox="1"/>
          <p:nvPr/>
        </p:nvSpPr>
        <p:spPr>
          <a:xfrm>
            <a:off x="2441296" y="6621969"/>
            <a:ext cx="403957" cy="138499"/>
          </a:xfrm>
          <a:prstGeom prst="rect">
            <a:avLst/>
          </a:prstGeom>
          <a:noFill/>
        </p:spPr>
        <p:txBody>
          <a:bodyPr wrap="none" lIns="0" tIns="0" rIns="0" bIns="0" rtlCol="0">
            <a:spAutoFit/>
          </a:bodyPr>
          <a:lstStyle/>
          <a:p>
            <a:pPr algn="l"/>
            <a:r>
              <a:rPr lang="en-GB" sz="900"/>
              <a:t>DB Link</a:t>
            </a:r>
          </a:p>
        </p:txBody>
      </p:sp>
      <p:cxnSp>
        <p:nvCxnSpPr>
          <p:cNvPr id="207" name="Straight Arrow Connector 206">
            <a:extLst>
              <a:ext uri="{FF2B5EF4-FFF2-40B4-BE49-F238E27FC236}">
                <a16:creationId xmlns:a16="http://schemas.microsoft.com/office/drawing/2014/main" id="{CDDC412F-5B62-46E1-9954-D6BAC1AFBC77}"/>
              </a:ext>
            </a:extLst>
          </p:cNvPr>
          <p:cNvCxnSpPr>
            <a:cxnSpLocks/>
          </p:cNvCxnSpPr>
          <p:nvPr/>
        </p:nvCxnSpPr>
        <p:spPr bwMode="auto">
          <a:xfrm>
            <a:off x="3302518" y="6705965"/>
            <a:ext cx="602621" cy="0"/>
          </a:xfrm>
          <a:prstGeom prst="straightConnector1">
            <a:avLst/>
          </a:prstGeom>
          <a:ln w="9525" cap="flat" cmpd="sng" algn="ctr">
            <a:solidFill>
              <a:srgbClr val="FA4616"/>
            </a:solidFill>
            <a:prstDash val="dash"/>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08" name="Straight Arrow Connector 207">
            <a:extLst>
              <a:ext uri="{FF2B5EF4-FFF2-40B4-BE49-F238E27FC236}">
                <a16:creationId xmlns:a16="http://schemas.microsoft.com/office/drawing/2014/main" id="{340F1C4E-4DA5-4356-A368-231B83C170CA}"/>
              </a:ext>
            </a:extLst>
          </p:cNvPr>
          <p:cNvCxnSpPr>
            <a:cxnSpLocks/>
          </p:cNvCxnSpPr>
          <p:nvPr/>
        </p:nvCxnSpPr>
        <p:spPr bwMode="auto">
          <a:xfrm flipV="1">
            <a:off x="3302518" y="6561142"/>
            <a:ext cx="602621" cy="1"/>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09" name="Straight Arrow Connector 208">
            <a:extLst>
              <a:ext uri="{FF2B5EF4-FFF2-40B4-BE49-F238E27FC236}">
                <a16:creationId xmlns:a16="http://schemas.microsoft.com/office/drawing/2014/main" id="{B2844E6E-1AA1-40FE-A693-008163160F0F}"/>
              </a:ext>
            </a:extLst>
          </p:cNvPr>
          <p:cNvCxnSpPr>
            <a:cxnSpLocks/>
          </p:cNvCxnSpPr>
          <p:nvPr/>
        </p:nvCxnSpPr>
        <p:spPr bwMode="auto">
          <a:xfrm flipV="1">
            <a:off x="1758776" y="6572759"/>
            <a:ext cx="602621" cy="1"/>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10" name="Straight Arrow Connector 209">
            <a:extLst>
              <a:ext uri="{FF2B5EF4-FFF2-40B4-BE49-F238E27FC236}">
                <a16:creationId xmlns:a16="http://schemas.microsoft.com/office/drawing/2014/main" id="{3E558965-141A-42B5-B803-A7F7CB3ED1CA}"/>
              </a:ext>
            </a:extLst>
          </p:cNvPr>
          <p:cNvCxnSpPr>
            <a:cxnSpLocks/>
          </p:cNvCxnSpPr>
          <p:nvPr/>
        </p:nvCxnSpPr>
        <p:spPr bwMode="auto">
          <a:xfrm flipV="1">
            <a:off x="1757668" y="6714052"/>
            <a:ext cx="602621" cy="1"/>
          </a:xfrm>
          <a:prstGeom prst="straightConnector1">
            <a:avLst/>
          </a:prstGeom>
          <a:ln w="9525" cap="flat" cmpd="sng" algn="ctr">
            <a:solidFill>
              <a:srgbClr val="00148C"/>
            </a:solidFill>
            <a:prstDash val="dash"/>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11" name="Straight Arrow Connector 210">
            <a:extLst>
              <a:ext uri="{FF2B5EF4-FFF2-40B4-BE49-F238E27FC236}">
                <a16:creationId xmlns:a16="http://schemas.microsoft.com/office/drawing/2014/main" id="{10DAD3C9-2F2D-4473-8C58-1F5BB8DF3EE3}"/>
              </a:ext>
            </a:extLst>
          </p:cNvPr>
          <p:cNvCxnSpPr>
            <a:cxnSpLocks/>
          </p:cNvCxnSpPr>
          <p:nvPr/>
        </p:nvCxnSpPr>
        <p:spPr bwMode="auto">
          <a:xfrm flipH="1" flipV="1">
            <a:off x="9446754" y="3050237"/>
            <a:ext cx="8222" cy="2617623"/>
          </a:xfrm>
          <a:prstGeom prst="straightConnector1">
            <a:avLst/>
          </a:prstGeom>
          <a:ln w="9525" cap="flat" cmpd="sng" algn="ctr">
            <a:solidFill>
              <a:srgbClr val="FF0000"/>
            </a:solidFill>
            <a:prstDash val="dash"/>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12" name="Straight Arrow Connector 211">
            <a:extLst>
              <a:ext uri="{FF2B5EF4-FFF2-40B4-BE49-F238E27FC236}">
                <a16:creationId xmlns:a16="http://schemas.microsoft.com/office/drawing/2014/main" id="{3B5C9C7A-6514-4ADC-8690-9B258C6E2C3D}"/>
              </a:ext>
            </a:extLst>
          </p:cNvPr>
          <p:cNvCxnSpPr>
            <a:cxnSpLocks/>
          </p:cNvCxnSpPr>
          <p:nvPr/>
        </p:nvCxnSpPr>
        <p:spPr bwMode="auto">
          <a:xfrm flipH="1" flipV="1">
            <a:off x="7889895" y="3028435"/>
            <a:ext cx="8222" cy="2617623"/>
          </a:xfrm>
          <a:prstGeom prst="straightConnector1">
            <a:avLst/>
          </a:prstGeom>
          <a:ln w="9525" cap="flat" cmpd="sng" algn="ctr">
            <a:solidFill>
              <a:srgbClr val="FF0000"/>
            </a:solidFill>
            <a:prstDash val="dash"/>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13" name="Straight Arrow Connector 212">
            <a:extLst>
              <a:ext uri="{FF2B5EF4-FFF2-40B4-BE49-F238E27FC236}">
                <a16:creationId xmlns:a16="http://schemas.microsoft.com/office/drawing/2014/main" id="{D7D7D9FE-9477-4D70-A0DE-5456744D6BE0}"/>
              </a:ext>
            </a:extLst>
          </p:cNvPr>
          <p:cNvCxnSpPr>
            <a:cxnSpLocks/>
          </p:cNvCxnSpPr>
          <p:nvPr/>
        </p:nvCxnSpPr>
        <p:spPr bwMode="auto">
          <a:xfrm flipH="1" flipV="1">
            <a:off x="8789018" y="3037576"/>
            <a:ext cx="8222" cy="2617623"/>
          </a:xfrm>
          <a:prstGeom prst="straightConnector1">
            <a:avLst/>
          </a:prstGeom>
          <a:ln w="9525" cap="flat" cmpd="sng" algn="ctr">
            <a:solidFill>
              <a:srgbClr val="FF0000"/>
            </a:solidFill>
            <a:prstDash val="dash"/>
            <a:round/>
            <a:headEnd type="oval" w="med" len="med"/>
            <a:tailEnd type="arrow" w="med" len="med"/>
          </a:ln>
        </p:spPr>
        <p:style>
          <a:lnRef idx="0">
            <a:scrgbClr r="0" g="0" b="0"/>
          </a:lnRef>
          <a:fillRef idx="0">
            <a:scrgbClr r="0" g="0" b="0"/>
          </a:fillRef>
          <a:effectRef idx="0">
            <a:scrgbClr r="0" g="0" b="0"/>
          </a:effectRef>
          <a:fontRef idx="minor">
            <a:schemeClr val="tx1"/>
          </a:fontRef>
        </p:style>
      </p:cxnSp>
      <p:sp>
        <p:nvSpPr>
          <p:cNvPr id="214" name="Rectangle 213">
            <a:extLst>
              <a:ext uri="{FF2B5EF4-FFF2-40B4-BE49-F238E27FC236}">
                <a16:creationId xmlns:a16="http://schemas.microsoft.com/office/drawing/2014/main" id="{6AA01645-0BF3-456A-9169-9D11EB51A0AD}"/>
              </a:ext>
            </a:extLst>
          </p:cNvPr>
          <p:cNvSpPr/>
          <p:nvPr/>
        </p:nvSpPr>
        <p:spPr bwMode="auto">
          <a:xfrm>
            <a:off x="10652653" y="2066402"/>
            <a:ext cx="948761" cy="937178"/>
          </a:xfrm>
          <a:prstGeom prst="rect">
            <a:avLst/>
          </a:prstGeom>
          <a:solidFill>
            <a:srgbClr val="FFFF99"/>
          </a:solidFill>
          <a:ln w="9525" cap="flat" cmpd="sng" algn="ctr">
            <a:solidFill>
              <a:srgbClr val="3366CC"/>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r>
              <a:rPr lang="en-US" sz="700">
                <a:solidFill>
                  <a:srgbClr val="000000"/>
                </a:solidFill>
                <a:latin typeface="+mn-lt"/>
                <a:cs typeface="Arial"/>
              </a:rPr>
              <a:t>Need details  Marketplace -</a:t>
            </a:r>
            <a:r>
              <a:rPr lang="en-US" sz="700">
                <a:solidFill>
                  <a:srgbClr val="000000"/>
                </a:solidFill>
                <a:cs typeface="Arial"/>
              </a:rPr>
              <a:t> Reimbursements for LC&amp;I, Small Business and Trade Partners via DSM.  Manual and Automated Flows</a:t>
            </a:r>
          </a:p>
        </p:txBody>
      </p:sp>
      <p:cxnSp>
        <p:nvCxnSpPr>
          <p:cNvPr id="215" name="Straight Arrow Connector 214">
            <a:extLst>
              <a:ext uri="{FF2B5EF4-FFF2-40B4-BE49-F238E27FC236}">
                <a16:creationId xmlns:a16="http://schemas.microsoft.com/office/drawing/2014/main" id="{3F69FB2F-5EE4-42A6-90BF-D5FCE7D6EBF9}"/>
              </a:ext>
            </a:extLst>
          </p:cNvPr>
          <p:cNvCxnSpPr>
            <a:cxnSpLocks/>
          </p:cNvCxnSpPr>
          <p:nvPr/>
        </p:nvCxnSpPr>
        <p:spPr bwMode="auto">
          <a:xfrm>
            <a:off x="3769734" y="1561040"/>
            <a:ext cx="4224" cy="1911053"/>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16" name="Straight Arrow Connector 215">
            <a:extLst>
              <a:ext uri="{FF2B5EF4-FFF2-40B4-BE49-F238E27FC236}">
                <a16:creationId xmlns:a16="http://schemas.microsoft.com/office/drawing/2014/main" id="{67EDD0B9-C2DC-466C-B134-75C94E3F1946}"/>
              </a:ext>
            </a:extLst>
          </p:cNvPr>
          <p:cNvCxnSpPr>
            <a:cxnSpLocks/>
          </p:cNvCxnSpPr>
          <p:nvPr/>
        </p:nvCxnSpPr>
        <p:spPr bwMode="auto">
          <a:xfrm>
            <a:off x="3909230" y="1780388"/>
            <a:ext cx="485" cy="1464171"/>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17" name="Straight Arrow Connector 216">
            <a:extLst>
              <a:ext uri="{FF2B5EF4-FFF2-40B4-BE49-F238E27FC236}">
                <a16:creationId xmlns:a16="http://schemas.microsoft.com/office/drawing/2014/main" id="{30A9997D-107B-4B9D-B28F-73D244057611}"/>
              </a:ext>
            </a:extLst>
          </p:cNvPr>
          <p:cNvCxnSpPr>
            <a:cxnSpLocks/>
          </p:cNvCxnSpPr>
          <p:nvPr/>
        </p:nvCxnSpPr>
        <p:spPr bwMode="auto">
          <a:xfrm flipH="1">
            <a:off x="6721618" y="3442528"/>
            <a:ext cx="3245" cy="235955"/>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18" name="Straight Arrow Connector 217">
            <a:extLst>
              <a:ext uri="{FF2B5EF4-FFF2-40B4-BE49-F238E27FC236}">
                <a16:creationId xmlns:a16="http://schemas.microsoft.com/office/drawing/2014/main" id="{A56BA906-0A8C-4906-95A9-ADCFE5D2C405}"/>
              </a:ext>
            </a:extLst>
          </p:cNvPr>
          <p:cNvCxnSpPr>
            <a:cxnSpLocks/>
          </p:cNvCxnSpPr>
          <p:nvPr/>
        </p:nvCxnSpPr>
        <p:spPr bwMode="auto">
          <a:xfrm>
            <a:off x="6876421" y="3459482"/>
            <a:ext cx="9956" cy="1010226"/>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19" name="Straight Arrow Connector 218">
            <a:extLst>
              <a:ext uri="{FF2B5EF4-FFF2-40B4-BE49-F238E27FC236}">
                <a16:creationId xmlns:a16="http://schemas.microsoft.com/office/drawing/2014/main" id="{6343A5CA-F891-4ACB-99B1-712765D3E01A}"/>
              </a:ext>
            </a:extLst>
          </p:cNvPr>
          <p:cNvCxnSpPr>
            <a:cxnSpLocks/>
          </p:cNvCxnSpPr>
          <p:nvPr/>
        </p:nvCxnSpPr>
        <p:spPr bwMode="auto">
          <a:xfrm>
            <a:off x="6622795" y="3278855"/>
            <a:ext cx="8109" cy="1000660"/>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20" name="Straight Arrow Connector 219">
            <a:extLst>
              <a:ext uri="{FF2B5EF4-FFF2-40B4-BE49-F238E27FC236}">
                <a16:creationId xmlns:a16="http://schemas.microsoft.com/office/drawing/2014/main" id="{9F1BDC17-D96E-4915-AA39-948ECD333BAC}"/>
              </a:ext>
            </a:extLst>
          </p:cNvPr>
          <p:cNvCxnSpPr>
            <a:cxnSpLocks/>
          </p:cNvCxnSpPr>
          <p:nvPr/>
        </p:nvCxnSpPr>
        <p:spPr bwMode="auto">
          <a:xfrm flipV="1">
            <a:off x="6538904" y="3236034"/>
            <a:ext cx="0" cy="969064"/>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21" name="Straight Arrow Connector 220">
            <a:extLst>
              <a:ext uri="{FF2B5EF4-FFF2-40B4-BE49-F238E27FC236}">
                <a16:creationId xmlns:a16="http://schemas.microsoft.com/office/drawing/2014/main" id="{1298B392-49D2-4464-B2BF-2F4B46D9A819}"/>
              </a:ext>
            </a:extLst>
          </p:cNvPr>
          <p:cNvCxnSpPr>
            <a:cxnSpLocks/>
          </p:cNvCxnSpPr>
          <p:nvPr/>
        </p:nvCxnSpPr>
        <p:spPr bwMode="auto">
          <a:xfrm flipH="1" flipV="1">
            <a:off x="6928814" y="3435705"/>
            <a:ext cx="20281" cy="980585"/>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22" name="Straight Arrow Connector 221">
            <a:extLst>
              <a:ext uri="{FF2B5EF4-FFF2-40B4-BE49-F238E27FC236}">
                <a16:creationId xmlns:a16="http://schemas.microsoft.com/office/drawing/2014/main" id="{FAA9CFC0-8778-4058-89C2-5649472A99E9}"/>
              </a:ext>
            </a:extLst>
          </p:cNvPr>
          <p:cNvCxnSpPr>
            <a:cxnSpLocks/>
          </p:cNvCxnSpPr>
          <p:nvPr/>
        </p:nvCxnSpPr>
        <p:spPr bwMode="auto">
          <a:xfrm flipH="1" flipV="1">
            <a:off x="6790786" y="3399384"/>
            <a:ext cx="2352" cy="257701"/>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sp>
        <p:nvSpPr>
          <p:cNvPr id="223" name="Rectangle 222">
            <a:extLst>
              <a:ext uri="{FF2B5EF4-FFF2-40B4-BE49-F238E27FC236}">
                <a16:creationId xmlns:a16="http://schemas.microsoft.com/office/drawing/2014/main" id="{A4FEAA94-A93F-43BA-B94C-83FA8F2C7EE2}"/>
              </a:ext>
            </a:extLst>
          </p:cNvPr>
          <p:cNvSpPr/>
          <p:nvPr/>
        </p:nvSpPr>
        <p:spPr bwMode="auto">
          <a:xfrm>
            <a:off x="4239990" y="1797960"/>
            <a:ext cx="917415" cy="482552"/>
          </a:xfrm>
          <a:prstGeom prst="rect">
            <a:avLst/>
          </a:prstGeom>
          <a:solidFill>
            <a:srgbClr val="FFFF99"/>
          </a:solidFill>
          <a:ln w="9525" cap="flat" cmpd="sng" algn="ctr">
            <a:solidFill>
              <a:srgbClr val="3366CC"/>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r>
              <a:rPr lang="en-US" sz="700">
                <a:solidFill>
                  <a:srgbClr val="000000"/>
                </a:solidFill>
                <a:latin typeface="+mn-lt"/>
                <a:cs typeface="Arial"/>
              </a:rPr>
              <a:t>Need to end to en</a:t>
            </a:r>
            <a:r>
              <a:rPr lang="en-US" sz="700">
                <a:solidFill>
                  <a:srgbClr val="000000"/>
                </a:solidFill>
                <a:cs typeface="Arial"/>
              </a:rPr>
              <a:t>d process for Lead/Opportunity for all products</a:t>
            </a:r>
            <a:endParaRPr lang="en-US" sz="700">
              <a:solidFill>
                <a:srgbClr val="000000"/>
              </a:solidFill>
              <a:latin typeface="+mn-lt"/>
              <a:cs typeface="Arial"/>
            </a:endParaRPr>
          </a:p>
        </p:txBody>
      </p:sp>
      <p:sp>
        <p:nvSpPr>
          <p:cNvPr id="224" name="Rectangle 223">
            <a:extLst>
              <a:ext uri="{FF2B5EF4-FFF2-40B4-BE49-F238E27FC236}">
                <a16:creationId xmlns:a16="http://schemas.microsoft.com/office/drawing/2014/main" id="{3030E64F-9A02-40F9-B0F1-D6CE8AC967C7}"/>
              </a:ext>
            </a:extLst>
          </p:cNvPr>
          <p:cNvSpPr/>
          <p:nvPr/>
        </p:nvSpPr>
        <p:spPr bwMode="auto">
          <a:xfrm>
            <a:off x="5180801" y="1333642"/>
            <a:ext cx="948761" cy="440405"/>
          </a:xfrm>
          <a:prstGeom prst="rect">
            <a:avLst/>
          </a:prstGeom>
          <a:solidFill>
            <a:srgbClr val="FFFF99"/>
          </a:solidFill>
          <a:ln w="9525" cap="flat" cmpd="sng" algn="ctr">
            <a:solidFill>
              <a:srgbClr val="3366CC"/>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r>
              <a:rPr lang="en-US" sz="700">
                <a:solidFill>
                  <a:srgbClr val="000000"/>
                </a:solidFill>
                <a:latin typeface="+mn-lt"/>
                <a:cs typeface="Arial"/>
              </a:rPr>
              <a:t>Need to align with Electric and Gas Ops Flows</a:t>
            </a:r>
          </a:p>
        </p:txBody>
      </p:sp>
      <p:sp>
        <p:nvSpPr>
          <p:cNvPr id="225" name="TextBox 224">
            <a:extLst>
              <a:ext uri="{FF2B5EF4-FFF2-40B4-BE49-F238E27FC236}">
                <a16:creationId xmlns:a16="http://schemas.microsoft.com/office/drawing/2014/main" id="{77142998-4B92-430A-85FD-A37152CCB847}"/>
              </a:ext>
            </a:extLst>
          </p:cNvPr>
          <p:cNvSpPr txBox="1"/>
          <p:nvPr/>
        </p:nvSpPr>
        <p:spPr>
          <a:xfrm rot="16200000">
            <a:off x="-241968" y="3156350"/>
            <a:ext cx="1356607" cy="256545"/>
          </a:xfrm>
          <a:prstGeom prst="rect">
            <a:avLst/>
          </a:prstGeom>
          <a:noFill/>
        </p:spPr>
        <p:txBody>
          <a:bodyPr wrap="square" rtlCol="0">
            <a:spAutoFit/>
          </a:bodyPr>
          <a:lstStyle/>
          <a:p>
            <a:pPr algn="ctr"/>
            <a:r>
              <a:rPr lang="en-IN" sz="1067" b="1">
                <a:solidFill>
                  <a:srgbClr val="000000"/>
                </a:solidFill>
                <a:latin typeface="Arial" panose="020B0604020202020204" pitchFamily="34" charset="0"/>
                <a:cs typeface="Arial" panose="020B0604020202020204" pitchFamily="34" charset="0"/>
              </a:rPr>
              <a:t>Applications</a:t>
            </a:r>
          </a:p>
        </p:txBody>
      </p:sp>
      <p:cxnSp>
        <p:nvCxnSpPr>
          <p:cNvPr id="226" name="Straight Arrow Connector 225">
            <a:extLst>
              <a:ext uri="{FF2B5EF4-FFF2-40B4-BE49-F238E27FC236}">
                <a16:creationId xmlns:a16="http://schemas.microsoft.com/office/drawing/2014/main" id="{3249576A-9AC3-4CAA-A887-55787865981F}"/>
              </a:ext>
            </a:extLst>
          </p:cNvPr>
          <p:cNvCxnSpPr>
            <a:cxnSpLocks/>
          </p:cNvCxnSpPr>
          <p:nvPr/>
        </p:nvCxnSpPr>
        <p:spPr bwMode="auto">
          <a:xfrm flipH="1">
            <a:off x="6193630" y="1565112"/>
            <a:ext cx="6108" cy="1112675"/>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27" name="Straight Arrow Connector 226">
            <a:extLst>
              <a:ext uri="{FF2B5EF4-FFF2-40B4-BE49-F238E27FC236}">
                <a16:creationId xmlns:a16="http://schemas.microsoft.com/office/drawing/2014/main" id="{82BC86E8-6B98-4758-B77A-A0C88D49FA7D}"/>
              </a:ext>
            </a:extLst>
          </p:cNvPr>
          <p:cNvCxnSpPr>
            <a:cxnSpLocks/>
          </p:cNvCxnSpPr>
          <p:nvPr/>
        </p:nvCxnSpPr>
        <p:spPr bwMode="auto">
          <a:xfrm flipH="1">
            <a:off x="6263531" y="1704630"/>
            <a:ext cx="8992" cy="990027"/>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28" name="Straight Arrow Connector 227">
            <a:extLst>
              <a:ext uri="{FF2B5EF4-FFF2-40B4-BE49-F238E27FC236}">
                <a16:creationId xmlns:a16="http://schemas.microsoft.com/office/drawing/2014/main" id="{EC71175D-5B17-49AB-B2E0-83B2EAEF0644}"/>
              </a:ext>
            </a:extLst>
          </p:cNvPr>
          <p:cNvCxnSpPr>
            <a:cxnSpLocks/>
            <a:endCxn id="102" idx="1"/>
          </p:cNvCxnSpPr>
          <p:nvPr/>
        </p:nvCxnSpPr>
        <p:spPr bwMode="auto">
          <a:xfrm flipH="1">
            <a:off x="7356048" y="1550655"/>
            <a:ext cx="3108" cy="1879765"/>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29" name="Straight Arrow Connector 228">
            <a:extLst>
              <a:ext uri="{FF2B5EF4-FFF2-40B4-BE49-F238E27FC236}">
                <a16:creationId xmlns:a16="http://schemas.microsoft.com/office/drawing/2014/main" id="{0DC6DCDB-19E8-4E13-BC8D-29D55B18A5B3}"/>
              </a:ext>
            </a:extLst>
          </p:cNvPr>
          <p:cNvCxnSpPr>
            <a:cxnSpLocks/>
          </p:cNvCxnSpPr>
          <p:nvPr/>
        </p:nvCxnSpPr>
        <p:spPr bwMode="auto">
          <a:xfrm flipH="1">
            <a:off x="7417181" y="1673821"/>
            <a:ext cx="4499" cy="1599908"/>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30" name="Straight Arrow Connector 229">
            <a:extLst>
              <a:ext uri="{FF2B5EF4-FFF2-40B4-BE49-F238E27FC236}">
                <a16:creationId xmlns:a16="http://schemas.microsoft.com/office/drawing/2014/main" id="{A00B40C7-0135-402C-AA41-4DDFD393565D}"/>
              </a:ext>
            </a:extLst>
          </p:cNvPr>
          <p:cNvCxnSpPr>
            <a:cxnSpLocks/>
          </p:cNvCxnSpPr>
          <p:nvPr/>
        </p:nvCxnSpPr>
        <p:spPr bwMode="auto">
          <a:xfrm flipH="1">
            <a:off x="10423255" y="1578752"/>
            <a:ext cx="3108" cy="1879765"/>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31" name="Straight Arrow Connector 230">
            <a:extLst>
              <a:ext uri="{FF2B5EF4-FFF2-40B4-BE49-F238E27FC236}">
                <a16:creationId xmlns:a16="http://schemas.microsoft.com/office/drawing/2014/main" id="{8FD154E9-5A02-4A9E-AA09-27316ED0C57D}"/>
              </a:ext>
            </a:extLst>
          </p:cNvPr>
          <p:cNvCxnSpPr>
            <a:cxnSpLocks/>
          </p:cNvCxnSpPr>
          <p:nvPr/>
        </p:nvCxnSpPr>
        <p:spPr bwMode="auto">
          <a:xfrm flipH="1">
            <a:off x="10484388" y="1701918"/>
            <a:ext cx="4499" cy="1599908"/>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32" name="Straight Arrow Connector 231">
            <a:extLst>
              <a:ext uri="{FF2B5EF4-FFF2-40B4-BE49-F238E27FC236}">
                <a16:creationId xmlns:a16="http://schemas.microsoft.com/office/drawing/2014/main" id="{6C35113F-CDD7-4210-9F8B-4BA2DBCDE3B5}"/>
              </a:ext>
            </a:extLst>
          </p:cNvPr>
          <p:cNvCxnSpPr>
            <a:cxnSpLocks/>
          </p:cNvCxnSpPr>
          <p:nvPr/>
        </p:nvCxnSpPr>
        <p:spPr bwMode="auto">
          <a:xfrm flipH="1">
            <a:off x="9533312" y="1540751"/>
            <a:ext cx="3108" cy="1879765"/>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33" name="Straight Arrow Connector 232">
            <a:extLst>
              <a:ext uri="{FF2B5EF4-FFF2-40B4-BE49-F238E27FC236}">
                <a16:creationId xmlns:a16="http://schemas.microsoft.com/office/drawing/2014/main" id="{53C0982A-8204-4C52-A0E6-38304DCB41B8}"/>
              </a:ext>
            </a:extLst>
          </p:cNvPr>
          <p:cNvCxnSpPr>
            <a:cxnSpLocks/>
          </p:cNvCxnSpPr>
          <p:nvPr/>
        </p:nvCxnSpPr>
        <p:spPr bwMode="auto">
          <a:xfrm flipH="1">
            <a:off x="9594445" y="1663917"/>
            <a:ext cx="4499" cy="1599908"/>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34" name="Straight Arrow Connector 233">
            <a:extLst>
              <a:ext uri="{FF2B5EF4-FFF2-40B4-BE49-F238E27FC236}">
                <a16:creationId xmlns:a16="http://schemas.microsoft.com/office/drawing/2014/main" id="{E502E2FD-342F-4413-8F9C-34B3CC029AD7}"/>
              </a:ext>
            </a:extLst>
          </p:cNvPr>
          <p:cNvCxnSpPr>
            <a:cxnSpLocks/>
          </p:cNvCxnSpPr>
          <p:nvPr/>
        </p:nvCxnSpPr>
        <p:spPr bwMode="auto">
          <a:xfrm flipH="1">
            <a:off x="8260922" y="1545344"/>
            <a:ext cx="3108" cy="1879765"/>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35" name="Straight Arrow Connector 234">
            <a:extLst>
              <a:ext uri="{FF2B5EF4-FFF2-40B4-BE49-F238E27FC236}">
                <a16:creationId xmlns:a16="http://schemas.microsoft.com/office/drawing/2014/main" id="{00AF4D7F-0320-4E63-8805-2C56E240E266}"/>
              </a:ext>
            </a:extLst>
          </p:cNvPr>
          <p:cNvCxnSpPr>
            <a:cxnSpLocks/>
          </p:cNvCxnSpPr>
          <p:nvPr/>
        </p:nvCxnSpPr>
        <p:spPr bwMode="auto">
          <a:xfrm flipH="1">
            <a:off x="8322055" y="1668510"/>
            <a:ext cx="4499" cy="1599908"/>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sp>
        <p:nvSpPr>
          <p:cNvPr id="236" name="Rectangle 235">
            <a:extLst>
              <a:ext uri="{FF2B5EF4-FFF2-40B4-BE49-F238E27FC236}">
                <a16:creationId xmlns:a16="http://schemas.microsoft.com/office/drawing/2014/main" id="{2233E105-82B7-41CA-A519-6B3C08C80578}"/>
              </a:ext>
            </a:extLst>
          </p:cNvPr>
          <p:cNvSpPr/>
          <p:nvPr/>
        </p:nvSpPr>
        <p:spPr bwMode="auto">
          <a:xfrm>
            <a:off x="8200346" y="1340015"/>
            <a:ext cx="948761" cy="440405"/>
          </a:xfrm>
          <a:prstGeom prst="rect">
            <a:avLst/>
          </a:prstGeom>
          <a:solidFill>
            <a:srgbClr val="FFFF99"/>
          </a:solidFill>
          <a:ln w="9525" cap="flat" cmpd="sng" algn="ctr">
            <a:solidFill>
              <a:srgbClr val="3366CC"/>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r>
              <a:rPr lang="en-US" sz="700">
                <a:solidFill>
                  <a:srgbClr val="000000"/>
                </a:solidFill>
                <a:latin typeface="+mn-lt"/>
                <a:cs typeface="Arial"/>
              </a:rPr>
              <a:t>Need to align with Electric and Gas Ops Flows</a:t>
            </a:r>
          </a:p>
        </p:txBody>
      </p:sp>
      <p:sp>
        <p:nvSpPr>
          <p:cNvPr id="237" name="Rectangle 236">
            <a:extLst>
              <a:ext uri="{FF2B5EF4-FFF2-40B4-BE49-F238E27FC236}">
                <a16:creationId xmlns:a16="http://schemas.microsoft.com/office/drawing/2014/main" id="{79B5D5FD-A156-4926-BB84-11D747063406}"/>
              </a:ext>
            </a:extLst>
          </p:cNvPr>
          <p:cNvSpPr/>
          <p:nvPr/>
        </p:nvSpPr>
        <p:spPr bwMode="auto">
          <a:xfrm>
            <a:off x="8858890" y="1849324"/>
            <a:ext cx="948761" cy="525167"/>
          </a:xfrm>
          <a:prstGeom prst="rect">
            <a:avLst/>
          </a:prstGeom>
          <a:solidFill>
            <a:srgbClr val="FFFF99"/>
          </a:solidFill>
          <a:ln w="9525" cap="flat" cmpd="sng" algn="ctr">
            <a:solidFill>
              <a:srgbClr val="3366CC"/>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r>
              <a:rPr lang="en-US" sz="700">
                <a:solidFill>
                  <a:srgbClr val="000000"/>
                </a:solidFill>
                <a:latin typeface="+mn-lt"/>
                <a:cs typeface="Arial"/>
              </a:rPr>
              <a:t>Need to add metering systems for input into CIS systems</a:t>
            </a:r>
          </a:p>
        </p:txBody>
      </p:sp>
      <p:sp>
        <p:nvSpPr>
          <p:cNvPr id="238" name="Oval 237">
            <a:extLst>
              <a:ext uri="{FF2B5EF4-FFF2-40B4-BE49-F238E27FC236}">
                <a16:creationId xmlns:a16="http://schemas.microsoft.com/office/drawing/2014/main" id="{461CB9B5-F279-4872-A571-9D6B34C3A6E5}"/>
              </a:ext>
            </a:extLst>
          </p:cNvPr>
          <p:cNvSpPr/>
          <p:nvPr/>
        </p:nvSpPr>
        <p:spPr bwMode="auto">
          <a:xfrm>
            <a:off x="8251215" y="5011882"/>
            <a:ext cx="267695" cy="253452"/>
          </a:xfrm>
          <a:prstGeom prst="ellipse">
            <a:avLst/>
          </a:prstGeom>
          <a:solidFill>
            <a:srgbClr val="FF0000"/>
          </a:solidFill>
          <a:ln w="9525" cap="flat" cmpd="sng" algn="ctr">
            <a:solidFill>
              <a:schemeClr val="accent1"/>
            </a:solidFill>
            <a:prstDash val="solid"/>
            <a:round/>
            <a:headEnd type="none" w="med" len="med"/>
            <a:tailEnd type="none" w="med" len="med"/>
          </a:ln>
          <a:effectLst/>
        </p:spPr>
        <p:txBody>
          <a:bodyPr vert="horz" wrap="square" lIns="0" tIns="45718" rIns="0" bIns="45718" numCol="1" rtlCol="0" anchor="ctr" anchorCtr="0" compatLnSpc="1">
            <a:prstTxWarp prst="textNoShape">
              <a:avLst/>
            </a:prstTxWarp>
          </a:bodyPr>
          <a:lstStyle/>
          <a:p>
            <a:pPr algn="ctr">
              <a:spcAft>
                <a:spcPts val="450"/>
              </a:spcAft>
            </a:pPr>
            <a:r>
              <a:rPr lang="en-US" sz="1100" b="1">
                <a:solidFill>
                  <a:schemeClr val="bg1"/>
                </a:solidFill>
                <a:latin typeface="+mn-lt"/>
                <a:cs typeface="Arial"/>
              </a:rPr>
              <a:t>4</a:t>
            </a:r>
          </a:p>
        </p:txBody>
      </p:sp>
      <p:sp>
        <p:nvSpPr>
          <p:cNvPr id="239" name="Oval 238">
            <a:extLst>
              <a:ext uri="{FF2B5EF4-FFF2-40B4-BE49-F238E27FC236}">
                <a16:creationId xmlns:a16="http://schemas.microsoft.com/office/drawing/2014/main" id="{0AD57EAA-38C0-4C44-B11A-E083299FC781}"/>
              </a:ext>
            </a:extLst>
          </p:cNvPr>
          <p:cNvSpPr/>
          <p:nvPr/>
        </p:nvSpPr>
        <p:spPr bwMode="auto">
          <a:xfrm>
            <a:off x="7503123" y="2243058"/>
            <a:ext cx="291513" cy="273975"/>
          </a:xfrm>
          <a:prstGeom prst="ellipse">
            <a:avLst/>
          </a:prstGeom>
          <a:solidFill>
            <a:srgbClr val="FF0000"/>
          </a:solidFill>
          <a:ln w="9525" cap="flat" cmpd="sng" algn="ctr">
            <a:solidFill>
              <a:schemeClr val="accent1"/>
            </a:solidFill>
            <a:prstDash val="solid"/>
            <a:round/>
            <a:headEnd type="none" w="med" len="med"/>
            <a:tailEnd type="none" w="med" len="med"/>
          </a:ln>
          <a:effectLst/>
        </p:spPr>
        <p:txBody>
          <a:bodyPr vert="horz" wrap="square" lIns="0" tIns="45718" rIns="0" bIns="45718" numCol="1" rtlCol="0" anchor="ctr" anchorCtr="0" compatLnSpc="1">
            <a:prstTxWarp prst="textNoShape">
              <a:avLst/>
            </a:prstTxWarp>
          </a:bodyPr>
          <a:lstStyle/>
          <a:p>
            <a:pPr algn="ctr">
              <a:spcAft>
                <a:spcPts val="450"/>
              </a:spcAft>
            </a:pPr>
            <a:r>
              <a:rPr lang="en-US" sz="1100" b="1">
                <a:solidFill>
                  <a:schemeClr val="bg1"/>
                </a:solidFill>
                <a:latin typeface="+mn-lt"/>
                <a:cs typeface="Arial"/>
              </a:rPr>
              <a:t>2b</a:t>
            </a:r>
          </a:p>
        </p:txBody>
      </p:sp>
      <p:sp>
        <p:nvSpPr>
          <p:cNvPr id="240" name="Oval 239">
            <a:extLst>
              <a:ext uri="{FF2B5EF4-FFF2-40B4-BE49-F238E27FC236}">
                <a16:creationId xmlns:a16="http://schemas.microsoft.com/office/drawing/2014/main" id="{284EE797-B582-4535-B40F-FC1AA724E5A8}"/>
              </a:ext>
            </a:extLst>
          </p:cNvPr>
          <p:cNvSpPr/>
          <p:nvPr/>
        </p:nvSpPr>
        <p:spPr bwMode="auto">
          <a:xfrm>
            <a:off x="2447134" y="1512613"/>
            <a:ext cx="250651" cy="236119"/>
          </a:xfrm>
          <a:prstGeom prst="ellipse">
            <a:avLst/>
          </a:prstGeom>
          <a:solidFill>
            <a:srgbClr val="FF0000"/>
          </a:solidFill>
          <a:ln w="9525" cap="flat" cmpd="sng" algn="ctr">
            <a:solidFill>
              <a:schemeClr val="accent1"/>
            </a:solidFill>
            <a:prstDash val="solid"/>
            <a:round/>
            <a:headEnd type="none" w="med" len="med"/>
            <a:tailEnd type="none" w="med" len="med"/>
          </a:ln>
          <a:effectLst/>
        </p:spPr>
        <p:txBody>
          <a:bodyPr vert="horz" wrap="square" lIns="0" tIns="45718" rIns="0" bIns="45718" numCol="1" rtlCol="0" anchor="ctr" anchorCtr="0" compatLnSpc="1">
            <a:prstTxWarp prst="textNoShape">
              <a:avLst/>
            </a:prstTxWarp>
          </a:bodyPr>
          <a:lstStyle/>
          <a:p>
            <a:pPr algn="ctr">
              <a:spcAft>
                <a:spcPts val="450"/>
              </a:spcAft>
            </a:pPr>
            <a:r>
              <a:rPr lang="en-US" sz="1100" b="1">
                <a:solidFill>
                  <a:schemeClr val="bg1"/>
                </a:solidFill>
                <a:cs typeface="Arial"/>
              </a:rPr>
              <a:t>1</a:t>
            </a:r>
          </a:p>
        </p:txBody>
      </p:sp>
      <p:sp>
        <p:nvSpPr>
          <p:cNvPr id="241" name="Oval 240">
            <a:extLst>
              <a:ext uri="{FF2B5EF4-FFF2-40B4-BE49-F238E27FC236}">
                <a16:creationId xmlns:a16="http://schemas.microsoft.com/office/drawing/2014/main" id="{3A7EBB27-B3CC-4871-8523-05F0FC1D904F}"/>
              </a:ext>
            </a:extLst>
          </p:cNvPr>
          <p:cNvSpPr/>
          <p:nvPr/>
        </p:nvSpPr>
        <p:spPr bwMode="auto">
          <a:xfrm>
            <a:off x="3974967" y="2183827"/>
            <a:ext cx="292840" cy="273975"/>
          </a:xfrm>
          <a:prstGeom prst="ellipse">
            <a:avLst/>
          </a:prstGeom>
          <a:solidFill>
            <a:srgbClr val="FF0000"/>
          </a:solidFill>
          <a:ln w="9525" cap="flat" cmpd="sng" algn="ctr">
            <a:solidFill>
              <a:schemeClr val="accent1"/>
            </a:solidFill>
            <a:prstDash val="solid"/>
            <a:round/>
            <a:headEnd type="none" w="med" len="med"/>
            <a:tailEnd type="none" w="med" len="med"/>
          </a:ln>
          <a:effectLst/>
        </p:spPr>
        <p:txBody>
          <a:bodyPr vert="horz" wrap="square" lIns="0" tIns="45718" rIns="0" bIns="45718" numCol="1" rtlCol="0" anchor="ctr" anchorCtr="0" compatLnSpc="1">
            <a:prstTxWarp prst="textNoShape">
              <a:avLst/>
            </a:prstTxWarp>
          </a:bodyPr>
          <a:lstStyle/>
          <a:p>
            <a:pPr algn="ctr">
              <a:spcAft>
                <a:spcPts val="450"/>
              </a:spcAft>
            </a:pPr>
            <a:r>
              <a:rPr lang="en-US" sz="1100" b="1">
                <a:solidFill>
                  <a:schemeClr val="bg1"/>
                </a:solidFill>
                <a:latin typeface="+mn-lt"/>
                <a:cs typeface="Arial"/>
              </a:rPr>
              <a:t>2a</a:t>
            </a:r>
          </a:p>
        </p:txBody>
      </p:sp>
      <p:sp>
        <p:nvSpPr>
          <p:cNvPr id="242" name="Oval 241">
            <a:extLst>
              <a:ext uri="{FF2B5EF4-FFF2-40B4-BE49-F238E27FC236}">
                <a16:creationId xmlns:a16="http://schemas.microsoft.com/office/drawing/2014/main" id="{6EB442DE-7DE3-42D7-BF18-2F26E168D237}"/>
              </a:ext>
            </a:extLst>
          </p:cNvPr>
          <p:cNvSpPr/>
          <p:nvPr/>
        </p:nvSpPr>
        <p:spPr bwMode="auto">
          <a:xfrm>
            <a:off x="6893342" y="1278476"/>
            <a:ext cx="285381" cy="286777"/>
          </a:xfrm>
          <a:prstGeom prst="ellipse">
            <a:avLst/>
          </a:prstGeom>
          <a:solidFill>
            <a:srgbClr val="FF0000"/>
          </a:solidFill>
          <a:ln w="9525" cap="flat" cmpd="sng" algn="ctr">
            <a:solidFill>
              <a:schemeClr val="accent1"/>
            </a:solidFill>
            <a:prstDash val="solid"/>
            <a:round/>
            <a:headEnd type="none" w="med" len="med"/>
            <a:tailEnd type="none" w="med" len="med"/>
          </a:ln>
          <a:effectLst/>
        </p:spPr>
        <p:txBody>
          <a:bodyPr vert="horz" wrap="square" lIns="0" tIns="45718" rIns="0" bIns="45718" numCol="1" rtlCol="0" anchor="ctr" anchorCtr="0" compatLnSpc="1">
            <a:prstTxWarp prst="textNoShape">
              <a:avLst/>
            </a:prstTxWarp>
          </a:bodyPr>
          <a:lstStyle/>
          <a:p>
            <a:pPr algn="ctr">
              <a:spcAft>
                <a:spcPts val="450"/>
              </a:spcAft>
            </a:pPr>
            <a:r>
              <a:rPr lang="en-US" sz="1100" b="1">
                <a:solidFill>
                  <a:schemeClr val="bg1"/>
                </a:solidFill>
                <a:latin typeface="+mn-lt"/>
                <a:cs typeface="Arial"/>
              </a:rPr>
              <a:t>3</a:t>
            </a:r>
          </a:p>
        </p:txBody>
      </p:sp>
      <p:sp>
        <p:nvSpPr>
          <p:cNvPr id="243" name="Rectangle 242">
            <a:extLst>
              <a:ext uri="{FF2B5EF4-FFF2-40B4-BE49-F238E27FC236}">
                <a16:creationId xmlns:a16="http://schemas.microsoft.com/office/drawing/2014/main" id="{E1EBB490-E7D7-4EDC-B240-99B3C62FCD31}"/>
              </a:ext>
            </a:extLst>
          </p:cNvPr>
          <p:cNvSpPr/>
          <p:nvPr/>
        </p:nvSpPr>
        <p:spPr>
          <a:xfrm>
            <a:off x="9206568" y="6472724"/>
            <a:ext cx="3203146" cy="400110"/>
          </a:xfrm>
          <a:prstGeom prst="rect">
            <a:avLst/>
          </a:prstGeom>
        </p:spPr>
        <p:txBody>
          <a:bodyPr wrap="square">
            <a:spAutoFit/>
          </a:bodyPr>
          <a:lstStyle/>
          <a:p>
            <a:r>
              <a:rPr lang="en-GB" sz="1000" dirty="0"/>
              <a:t>Data mastered in multiple applications </a:t>
            </a:r>
          </a:p>
          <a:p>
            <a:r>
              <a:rPr lang="en-GB" sz="1000" dirty="0"/>
              <a:t>(This includes across all Jurisdictions)</a:t>
            </a:r>
          </a:p>
        </p:txBody>
      </p:sp>
      <p:pic>
        <p:nvPicPr>
          <p:cNvPr id="244" name="Picture 243" descr="A close up of a logo&#10;&#10;Description automatically generated">
            <a:extLst>
              <a:ext uri="{FF2B5EF4-FFF2-40B4-BE49-F238E27FC236}">
                <a16:creationId xmlns:a16="http://schemas.microsoft.com/office/drawing/2014/main" id="{83F4184C-1553-4C59-9CD7-993945619DAE}"/>
              </a:ext>
            </a:extLst>
          </p:cNvPr>
          <p:cNvPicPr>
            <a:picLocks noChangeAspect="1"/>
          </p:cNvPicPr>
          <p:nvPr/>
        </p:nvPicPr>
        <p:blipFill>
          <a:blip r:embed="rId4"/>
          <a:stretch>
            <a:fillRect/>
          </a:stretch>
        </p:blipFill>
        <p:spPr>
          <a:xfrm>
            <a:off x="9073710" y="6516569"/>
            <a:ext cx="196568" cy="196568"/>
          </a:xfrm>
          <a:prstGeom prst="rect">
            <a:avLst/>
          </a:prstGeom>
        </p:spPr>
      </p:pic>
      <p:sp>
        <p:nvSpPr>
          <p:cNvPr id="245" name="Title 3">
            <a:extLst>
              <a:ext uri="{FF2B5EF4-FFF2-40B4-BE49-F238E27FC236}">
                <a16:creationId xmlns:a16="http://schemas.microsoft.com/office/drawing/2014/main" id="{076F0FA0-12C8-48C6-8485-6BA5878C6EF5}"/>
              </a:ext>
            </a:extLst>
          </p:cNvPr>
          <p:cNvSpPr txBox="1">
            <a:spLocks/>
          </p:cNvSpPr>
          <p:nvPr/>
        </p:nvSpPr>
        <p:spPr>
          <a:xfrm>
            <a:off x="431631" y="84708"/>
            <a:ext cx="11040533" cy="369332"/>
          </a:xfrm>
          <a:prstGeom prst="rect">
            <a:avLst/>
          </a:prstGeom>
        </p:spPr>
        <p:txBody>
          <a:bodyPr vert="horz" lIns="253554" tIns="28173" rIns="140864" bIns="28173" rtlCol="0" anchor="ctr">
            <a:noAutofit/>
          </a:bodyPr>
          <a:lstStyle>
            <a:lvl1pPr algn="l" defTabSz="1038910" rtl="0" eaLnBrk="1" latinLnBrk="0" hangingPunct="1">
              <a:lnSpc>
                <a:spcPct val="85000"/>
              </a:lnSpc>
              <a:spcBef>
                <a:spcPct val="0"/>
              </a:spcBef>
              <a:buNone/>
              <a:defRPr sz="2400" b="0" kern="1200" spc="-93" baseline="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Information Flow Analysis – where does Billing Ops and AMO play?</a:t>
            </a:r>
          </a:p>
        </p:txBody>
      </p:sp>
    </p:spTree>
    <p:extLst>
      <p:ext uri="{BB962C8B-B14F-4D97-AF65-F5344CB8AC3E}">
        <p14:creationId xmlns:p14="http://schemas.microsoft.com/office/powerpoint/2010/main" val="107314483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71A101C-627D-4123-AD60-A679C31CC198}"/>
              </a:ext>
            </a:extLst>
          </p:cNvPr>
          <p:cNvSpPr/>
          <p:nvPr/>
        </p:nvSpPr>
        <p:spPr>
          <a:xfrm>
            <a:off x="2386940" y="5593278"/>
            <a:ext cx="9805061" cy="12647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2" name="Title 1">
            <a:extLst>
              <a:ext uri="{FF2B5EF4-FFF2-40B4-BE49-F238E27FC236}">
                <a16:creationId xmlns:a16="http://schemas.microsoft.com/office/drawing/2014/main" id="{480A4DA1-DC9C-49C2-86A3-B18194BD1CE7}"/>
              </a:ext>
            </a:extLst>
          </p:cNvPr>
          <p:cNvSpPr>
            <a:spLocks noGrp="1"/>
          </p:cNvSpPr>
          <p:nvPr>
            <p:ph type="title"/>
          </p:nvPr>
        </p:nvSpPr>
        <p:spPr/>
        <p:txBody>
          <a:bodyPr/>
          <a:lstStyle/>
          <a:p>
            <a:r>
              <a:rPr lang="en-US" dirty="0"/>
              <a:t>Master Data Flows</a:t>
            </a:r>
          </a:p>
        </p:txBody>
      </p:sp>
      <p:pic>
        <p:nvPicPr>
          <p:cNvPr id="5" name="Picture 4">
            <a:extLst>
              <a:ext uri="{FF2B5EF4-FFF2-40B4-BE49-F238E27FC236}">
                <a16:creationId xmlns:a16="http://schemas.microsoft.com/office/drawing/2014/main" id="{D5CFCC9E-E74A-4A4A-9E7E-3660A56D557E}"/>
              </a:ext>
            </a:extLst>
          </p:cNvPr>
          <p:cNvPicPr>
            <a:picLocks noChangeAspect="1"/>
          </p:cNvPicPr>
          <p:nvPr/>
        </p:nvPicPr>
        <p:blipFill>
          <a:blip r:embed="rId2"/>
          <a:stretch>
            <a:fillRect/>
          </a:stretch>
        </p:blipFill>
        <p:spPr>
          <a:xfrm>
            <a:off x="3377702" y="69843"/>
            <a:ext cx="8663877" cy="6718313"/>
          </a:xfrm>
          <a:prstGeom prst="rect">
            <a:avLst/>
          </a:prstGeom>
        </p:spPr>
      </p:pic>
      <p:sp>
        <p:nvSpPr>
          <p:cNvPr id="7" name="TextBox 6">
            <a:extLst>
              <a:ext uri="{FF2B5EF4-FFF2-40B4-BE49-F238E27FC236}">
                <a16:creationId xmlns:a16="http://schemas.microsoft.com/office/drawing/2014/main" id="{AF2C44A2-51DF-44C1-ABAD-EEE5042F1815}"/>
              </a:ext>
            </a:extLst>
          </p:cNvPr>
          <p:cNvSpPr txBox="1"/>
          <p:nvPr/>
        </p:nvSpPr>
        <p:spPr>
          <a:xfrm>
            <a:off x="154368" y="2207497"/>
            <a:ext cx="2933216" cy="3970318"/>
          </a:xfrm>
          <a:prstGeom prst="rect">
            <a:avLst/>
          </a:prstGeom>
          <a:noFill/>
        </p:spPr>
        <p:txBody>
          <a:bodyPr wrap="square" rtlCol="0">
            <a:spAutoFit/>
          </a:bodyPr>
          <a:lstStyle/>
          <a:p>
            <a:pPr marL="285750" indent="-285750">
              <a:buFont typeface="Arial" panose="020B0604020202020204" pitchFamily="34" charset="0"/>
              <a:buChar char="•"/>
            </a:pPr>
            <a:r>
              <a:rPr lang="en-US" sz="1400" dirty="0">
                <a:solidFill>
                  <a:schemeClr val="tx2">
                    <a:lumMod val="50000"/>
                  </a:schemeClr>
                </a:solidFill>
              </a:rPr>
              <a:t>Multiple Systems of Record and pathways for account management and customer billing support</a:t>
            </a:r>
          </a:p>
          <a:p>
            <a:pPr marL="285750" indent="-285750">
              <a:buFont typeface="Arial" panose="020B0604020202020204" pitchFamily="34" charset="0"/>
              <a:buChar char="•"/>
            </a:pPr>
            <a:endParaRPr lang="en-US" sz="1400" dirty="0">
              <a:solidFill>
                <a:schemeClr val="tx2">
                  <a:lumMod val="50000"/>
                </a:schemeClr>
              </a:solidFill>
            </a:endParaRPr>
          </a:p>
          <a:p>
            <a:pPr marL="285750" indent="-285750">
              <a:buFont typeface="Arial" panose="020B0604020202020204" pitchFamily="34" charset="0"/>
              <a:buChar char="•"/>
            </a:pPr>
            <a:r>
              <a:rPr lang="en-US" sz="1400" dirty="0">
                <a:solidFill>
                  <a:schemeClr val="tx2">
                    <a:lumMod val="50000"/>
                  </a:schemeClr>
                </a:solidFill>
              </a:rPr>
              <a:t>Fragmented non-utility billing and credit/rebate management</a:t>
            </a:r>
          </a:p>
          <a:p>
            <a:pPr marL="285750" indent="-285750">
              <a:buFont typeface="Arial" panose="020B0604020202020204" pitchFamily="34" charset="0"/>
              <a:buChar char="•"/>
            </a:pPr>
            <a:endParaRPr lang="en-US" sz="1400" dirty="0">
              <a:solidFill>
                <a:schemeClr val="tx2">
                  <a:lumMod val="50000"/>
                </a:schemeClr>
              </a:solidFill>
            </a:endParaRPr>
          </a:p>
          <a:p>
            <a:pPr marL="285750" indent="-285750">
              <a:buFont typeface="Arial" panose="020B0604020202020204" pitchFamily="34" charset="0"/>
              <a:buChar char="•"/>
            </a:pPr>
            <a:r>
              <a:rPr lang="en-US" sz="1400" dirty="0">
                <a:solidFill>
                  <a:schemeClr val="tx2">
                    <a:lumMod val="50000"/>
                  </a:schemeClr>
                </a:solidFill>
              </a:rPr>
              <a:t>Meter-centric revenue management conflicting with C&amp;I account management (bill aggregation, third-party bill agent management, C&amp;I account servicing)</a:t>
            </a:r>
          </a:p>
          <a:p>
            <a:pPr marL="285750" indent="-285750">
              <a:buFont typeface="Arial" panose="020B0604020202020204" pitchFamily="34" charset="0"/>
              <a:buChar char="•"/>
            </a:pPr>
            <a:endParaRPr lang="en-US" sz="1400" dirty="0">
              <a:solidFill>
                <a:schemeClr val="tx2">
                  <a:lumMod val="50000"/>
                </a:schemeClr>
              </a:solidFill>
            </a:endParaRPr>
          </a:p>
          <a:p>
            <a:pPr marL="285750" indent="-285750">
              <a:buFont typeface="Arial" panose="020B0604020202020204" pitchFamily="34" charset="0"/>
              <a:buChar char="•"/>
            </a:pPr>
            <a:endParaRPr lang="en-US" sz="1400" dirty="0">
              <a:solidFill>
                <a:schemeClr val="tx2">
                  <a:lumMod val="50000"/>
                </a:schemeClr>
              </a:solidFill>
            </a:endParaRPr>
          </a:p>
        </p:txBody>
      </p:sp>
      <p:sp>
        <p:nvSpPr>
          <p:cNvPr id="8" name="TextBox 7">
            <a:extLst>
              <a:ext uri="{FF2B5EF4-FFF2-40B4-BE49-F238E27FC236}">
                <a16:creationId xmlns:a16="http://schemas.microsoft.com/office/drawing/2014/main" id="{440451A5-B365-49AA-8581-D154294ECBEB}"/>
              </a:ext>
            </a:extLst>
          </p:cNvPr>
          <p:cNvSpPr txBox="1"/>
          <p:nvPr/>
        </p:nvSpPr>
        <p:spPr>
          <a:xfrm>
            <a:off x="516571" y="1145308"/>
            <a:ext cx="2208810" cy="954107"/>
          </a:xfrm>
          <a:prstGeom prst="rect">
            <a:avLst/>
          </a:prstGeom>
          <a:noFill/>
        </p:spPr>
        <p:txBody>
          <a:bodyPr wrap="square" rtlCol="0">
            <a:spAutoFit/>
          </a:bodyPr>
          <a:lstStyle/>
          <a:p>
            <a:pPr algn="ctr"/>
            <a:r>
              <a:rPr lang="en-US" sz="1400" b="1" i="1" dirty="0">
                <a:solidFill>
                  <a:schemeClr val="tx2">
                    <a:lumMod val="50000"/>
                  </a:schemeClr>
                </a:solidFill>
              </a:rPr>
              <a:t>Billing Operations &amp; Account Management Perspectives</a:t>
            </a:r>
          </a:p>
        </p:txBody>
      </p:sp>
      <p:sp>
        <p:nvSpPr>
          <p:cNvPr id="9" name="Rectangle: Rounded Corners 8">
            <a:extLst>
              <a:ext uri="{FF2B5EF4-FFF2-40B4-BE49-F238E27FC236}">
                <a16:creationId xmlns:a16="http://schemas.microsoft.com/office/drawing/2014/main" id="{3C14C1BF-32E7-49DC-BDF5-5F3946E03C79}"/>
              </a:ext>
            </a:extLst>
          </p:cNvPr>
          <p:cNvSpPr/>
          <p:nvPr/>
        </p:nvSpPr>
        <p:spPr>
          <a:xfrm>
            <a:off x="3377702" y="843147"/>
            <a:ext cx="5861301" cy="641269"/>
          </a:xfrm>
          <a:prstGeom prst="round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10" name="Rectangle: Rounded Corners 9">
            <a:extLst>
              <a:ext uri="{FF2B5EF4-FFF2-40B4-BE49-F238E27FC236}">
                <a16:creationId xmlns:a16="http://schemas.microsoft.com/office/drawing/2014/main" id="{5AB0A3E7-D876-40B1-BC01-6C990A2E0356}"/>
              </a:ext>
            </a:extLst>
          </p:cNvPr>
          <p:cNvSpPr/>
          <p:nvPr/>
        </p:nvSpPr>
        <p:spPr>
          <a:xfrm>
            <a:off x="6096000" y="3976081"/>
            <a:ext cx="1260439" cy="914400"/>
          </a:xfrm>
          <a:prstGeom prst="round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11" name="Rectangle: Rounded Corners 10">
            <a:extLst>
              <a:ext uri="{FF2B5EF4-FFF2-40B4-BE49-F238E27FC236}">
                <a16:creationId xmlns:a16="http://schemas.microsoft.com/office/drawing/2014/main" id="{5DA08F7C-0280-48BD-A746-030E75EC583B}"/>
              </a:ext>
            </a:extLst>
          </p:cNvPr>
          <p:cNvSpPr/>
          <p:nvPr/>
        </p:nvSpPr>
        <p:spPr>
          <a:xfrm>
            <a:off x="7709640" y="2099415"/>
            <a:ext cx="1260439" cy="914400"/>
          </a:xfrm>
          <a:prstGeom prst="round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13" name="Rectangle: Rounded Corners 12">
            <a:extLst>
              <a:ext uri="{FF2B5EF4-FFF2-40B4-BE49-F238E27FC236}">
                <a16:creationId xmlns:a16="http://schemas.microsoft.com/office/drawing/2014/main" id="{6133EEC7-6809-424D-8213-043B61CEAA2F}"/>
              </a:ext>
            </a:extLst>
          </p:cNvPr>
          <p:cNvSpPr/>
          <p:nvPr/>
        </p:nvSpPr>
        <p:spPr>
          <a:xfrm>
            <a:off x="11234057" y="1307777"/>
            <a:ext cx="957944" cy="3097967"/>
          </a:xfrm>
          <a:prstGeom prst="round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14" name="Rectangle: Rounded Corners 13">
            <a:extLst>
              <a:ext uri="{FF2B5EF4-FFF2-40B4-BE49-F238E27FC236}">
                <a16:creationId xmlns:a16="http://schemas.microsoft.com/office/drawing/2014/main" id="{23249122-3A1B-4772-AB80-E8549E0779A2}"/>
              </a:ext>
            </a:extLst>
          </p:cNvPr>
          <p:cNvSpPr/>
          <p:nvPr/>
        </p:nvSpPr>
        <p:spPr>
          <a:xfrm>
            <a:off x="7622806" y="5955478"/>
            <a:ext cx="1153059" cy="876790"/>
          </a:xfrm>
          <a:prstGeom prst="round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15" name="Rectangle: Rounded Corners 14">
            <a:extLst>
              <a:ext uri="{FF2B5EF4-FFF2-40B4-BE49-F238E27FC236}">
                <a16:creationId xmlns:a16="http://schemas.microsoft.com/office/drawing/2014/main" id="{359C57A9-DE13-4911-B985-B3D725D2A6B8}"/>
              </a:ext>
            </a:extLst>
          </p:cNvPr>
          <p:cNvSpPr/>
          <p:nvPr/>
        </p:nvSpPr>
        <p:spPr>
          <a:xfrm>
            <a:off x="9235873" y="5450774"/>
            <a:ext cx="1153059" cy="643242"/>
          </a:xfrm>
          <a:prstGeom prst="round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16" name="Rectangle: Rounded Corners 15">
            <a:extLst>
              <a:ext uri="{FF2B5EF4-FFF2-40B4-BE49-F238E27FC236}">
                <a16:creationId xmlns:a16="http://schemas.microsoft.com/office/drawing/2014/main" id="{1840A02E-8338-4D33-B01D-41A6B493B558}"/>
              </a:ext>
            </a:extLst>
          </p:cNvPr>
          <p:cNvSpPr/>
          <p:nvPr/>
        </p:nvSpPr>
        <p:spPr>
          <a:xfrm>
            <a:off x="3362698" y="1527784"/>
            <a:ext cx="2646216" cy="914400"/>
          </a:xfrm>
          <a:prstGeom prst="roundRect">
            <a:avLst/>
          </a:prstGeom>
          <a:noFill/>
          <a:ln>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17" name="Rectangle: Rounded Corners 16">
            <a:extLst>
              <a:ext uri="{FF2B5EF4-FFF2-40B4-BE49-F238E27FC236}">
                <a16:creationId xmlns:a16="http://schemas.microsoft.com/office/drawing/2014/main" id="{C56B691B-ED10-42B1-9FB4-7CB664BEAA49}"/>
              </a:ext>
            </a:extLst>
          </p:cNvPr>
          <p:cNvSpPr/>
          <p:nvPr/>
        </p:nvSpPr>
        <p:spPr>
          <a:xfrm>
            <a:off x="10806534" y="4447131"/>
            <a:ext cx="1385466" cy="661410"/>
          </a:xfrm>
          <a:prstGeom prst="roundRect">
            <a:avLst/>
          </a:prstGeom>
          <a:noFill/>
          <a:ln>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Tree>
    <p:extLst>
      <p:ext uri="{BB962C8B-B14F-4D97-AF65-F5344CB8AC3E}">
        <p14:creationId xmlns:p14="http://schemas.microsoft.com/office/powerpoint/2010/main" val="372775814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71A101C-627D-4123-AD60-A679C31CC198}"/>
              </a:ext>
            </a:extLst>
          </p:cNvPr>
          <p:cNvSpPr/>
          <p:nvPr/>
        </p:nvSpPr>
        <p:spPr>
          <a:xfrm>
            <a:off x="2386940" y="5593278"/>
            <a:ext cx="9805061" cy="12647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2" name="Title 1">
            <a:extLst>
              <a:ext uri="{FF2B5EF4-FFF2-40B4-BE49-F238E27FC236}">
                <a16:creationId xmlns:a16="http://schemas.microsoft.com/office/drawing/2014/main" id="{480A4DA1-DC9C-49C2-86A3-B18194BD1CE7}"/>
              </a:ext>
            </a:extLst>
          </p:cNvPr>
          <p:cNvSpPr>
            <a:spLocks noGrp="1"/>
          </p:cNvSpPr>
          <p:nvPr>
            <p:ph type="title"/>
          </p:nvPr>
        </p:nvSpPr>
        <p:spPr/>
        <p:txBody>
          <a:bodyPr/>
          <a:lstStyle/>
          <a:p>
            <a:r>
              <a:rPr lang="en-US" dirty="0"/>
              <a:t>Data Flow Challenges – Billing Operations &amp; Account Management?</a:t>
            </a:r>
          </a:p>
        </p:txBody>
      </p:sp>
      <p:sp>
        <p:nvSpPr>
          <p:cNvPr id="5" name="Content Placeholder 3">
            <a:extLst>
              <a:ext uri="{FF2B5EF4-FFF2-40B4-BE49-F238E27FC236}">
                <a16:creationId xmlns:a16="http://schemas.microsoft.com/office/drawing/2014/main" id="{784D8986-D88D-4BDA-BBC4-42D4E9A8EDEB}"/>
              </a:ext>
            </a:extLst>
          </p:cNvPr>
          <p:cNvSpPr>
            <a:spLocks noGrp="1"/>
          </p:cNvSpPr>
          <p:nvPr>
            <p:ph idx="1"/>
          </p:nvPr>
        </p:nvSpPr>
        <p:spPr>
          <a:xfrm>
            <a:off x="398022" y="1103871"/>
            <a:ext cx="11793979" cy="4643751"/>
          </a:xfrm>
        </p:spPr>
        <p:txBody>
          <a:bodyPr/>
          <a:lstStyle/>
          <a:p>
            <a:r>
              <a:rPr lang="en-US" sz="1600" dirty="0"/>
              <a:t>Working across multiple Systems of Record</a:t>
            </a:r>
          </a:p>
          <a:p>
            <a:endParaRPr lang="en-US" sz="1600" dirty="0"/>
          </a:p>
          <a:p>
            <a:r>
              <a:rPr lang="en-US" sz="1600" dirty="0"/>
              <a:t>Timeliness of account and transactional updates across data sets</a:t>
            </a:r>
          </a:p>
          <a:p>
            <a:endParaRPr lang="en-US" sz="1600" dirty="0"/>
          </a:p>
          <a:p>
            <a:r>
              <a:rPr lang="en-US" sz="1600" dirty="0"/>
              <a:t>Ability to trace postings/allocations/credit transactions across Systems of Record</a:t>
            </a:r>
          </a:p>
          <a:p>
            <a:endParaRPr lang="en-US" sz="1600" dirty="0"/>
          </a:p>
          <a:p>
            <a:r>
              <a:rPr lang="en-US" sz="1600" dirty="0"/>
              <a:t>Situational awareness – ability to quickly aggregate and see what the customer sees on multiple fronts:</a:t>
            </a:r>
          </a:p>
          <a:p>
            <a:pPr lvl="1"/>
            <a:r>
              <a:rPr lang="en-US" sz="1200" dirty="0"/>
              <a:t>History of billing challenges</a:t>
            </a:r>
          </a:p>
          <a:p>
            <a:pPr lvl="1"/>
            <a:r>
              <a:rPr lang="en-US" sz="1200" dirty="0"/>
              <a:t>Track record of payment timeliness, billing assistance and payment agreement execution</a:t>
            </a:r>
          </a:p>
          <a:p>
            <a:pPr lvl="1"/>
            <a:r>
              <a:rPr lang="en-US" sz="1200" dirty="0"/>
              <a:t>Current or forecasted billing changes</a:t>
            </a:r>
          </a:p>
          <a:p>
            <a:pPr lvl="1"/>
            <a:r>
              <a:rPr lang="en-US" sz="1200" dirty="0"/>
              <a:t>Account set-up or transition status</a:t>
            </a:r>
          </a:p>
          <a:p>
            <a:pPr lvl="1"/>
            <a:endParaRPr lang="en-US" sz="1200" dirty="0"/>
          </a:p>
          <a:p>
            <a:r>
              <a:rPr lang="en-US" sz="1600" dirty="0"/>
              <a:t>Case management and proactive engagement around billing exceptions, payment issues, account issues</a:t>
            </a:r>
          </a:p>
          <a:p>
            <a:pPr marL="0" indent="0">
              <a:buNone/>
            </a:pPr>
            <a:endParaRPr lang="en-US" sz="1600" dirty="0"/>
          </a:p>
          <a:p>
            <a:endParaRPr lang="en-US" sz="1600" dirty="0"/>
          </a:p>
          <a:p>
            <a:endParaRPr lang="en-US" sz="1600" dirty="0"/>
          </a:p>
        </p:txBody>
      </p:sp>
      <p:sp>
        <p:nvSpPr>
          <p:cNvPr id="8" name="TextBox 7">
            <a:extLst>
              <a:ext uri="{FF2B5EF4-FFF2-40B4-BE49-F238E27FC236}">
                <a16:creationId xmlns:a16="http://schemas.microsoft.com/office/drawing/2014/main" id="{9681542D-AC61-450C-89B5-CCA19BB8DDD9}"/>
              </a:ext>
            </a:extLst>
          </p:cNvPr>
          <p:cNvSpPr txBox="1"/>
          <p:nvPr/>
        </p:nvSpPr>
        <p:spPr>
          <a:xfrm>
            <a:off x="10435773" y="203198"/>
            <a:ext cx="1481496" cy="307777"/>
          </a:xfrm>
          <a:prstGeom prst="rect">
            <a:avLst/>
          </a:prstGeom>
          <a:noFill/>
        </p:spPr>
        <p:txBody>
          <a:bodyPr wrap="none" rtlCol="0">
            <a:spAutoFit/>
          </a:bodyPr>
          <a:lstStyle/>
          <a:p>
            <a:r>
              <a:rPr lang="en-US" sz="1400" i="1" dirty="0">
                <a:solidFill>
                  <a:schemeClr val="tx2">
                    <a:lumMod val="50000"/>
                  </a:schemeClr>
                </a:solidFill>
              </a:rPr>
              <a:t>For Discussion</a:t>
            </a:r>
          </a:p>
        </p:txBody>
      </p:sp>
      <p:cxnSp>
        <p:nvCxnSpPr>
          <p:cNvPr id="9" name="Straight Connector 8">
            <a:extLst>
              <a:ext uri="{FF2B5EF4-FFF2-40B4-BE49-F238E27FC236}">
                <a16:creationId xmlns:a16="http://schemas.microsoft.com/office/drawing/2014/main" id="{F1CD010C-0357-4904-827A-4C5D84CBCBC1}"/>
              </a:ext>
            </a:extLst>
          </p:cNvPr>
          <p:cNvCxnSpPr/>
          <p:nvPr/>
        </p:nvCxnSpPr>
        <p:spPr>
          <a:xfrm>
            <a:off x="10406742" y="203198"/>
            <a:ext cx="1429667" cy="0"/>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F1082DE8-F564-46B7-906C-D0A155917CB7}"/>
              </a:ext>
            </a:extLst>
          </p:cNvPr>
          <p:cNvCxnSpPr/>
          <p:nvPr/>
        </p:nvCxnSpPr>
        <p:spPr>
          <a:xfrm>
            <a:off x="10428516" y="500738"/>
            <a:ext cx="1429667" cy="0"/>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09148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38B2F0-7F8B-4E4C-9D8C-EC849F248CC1}"/>
              </a:ext>
            </a:extLst>
          </p:cNvPr>
          <p:cNvSpPr>
            <a:spLocks noGrp="1"/>
          </p:cNvSpPr>
          <p:nvPr>
            <p:ph type="title"/>
          </p:nvPr>
        </p:nvSpPr>
        <p:spPr/>
        <p:txBody>
          <a:bodyPr/>
          <a:lstStyle/>
          <a:p>
            <a:r>
              <a:rPr lang="en-US" dirty="0"/>
              <a:t>Future Systems &amp; Data Implications</a:t>
            </a:r>
          </a:p>
        </p:txBody>
      </p:sp>
      <p:sp>
        <p:nvSpPr>
          <p:cNvPr id="4" name="TextBox 3">
            <a:extLst>
              <a:ext uri="{FF2B5EF4-FFF2-40B4-BE49-F238E27FC236}">
                <a16:creationId xmlns:a16="http://schemas.microsoft.com/office/drawing/2014/main" id="{4AD35FB6-00A6-43EE-9503-C9C4969202CE}"/>
              </a:ext>
            </a:extLst>
          </p:cNvPr>
          <p:cNvSpPr txBox="1"/>
          <p:nvPr/>
        </p:nvSpPr>
        <p:spPr>
          <a:xfrm>
            <a:off x="1889086" y="1422074"/>
            <a:ext cx="3280896" cy="2246769"/>
          </a:xfrm>
          <a:prstGeom prst="rect">
            <a:avLst/>
          </a:prstGeom>
          <a:noFill/>
        </p:spPr>
        <p:txBody>
          <a:bodyPr wrap="square" rtlCol="0">
            <a:spAutoFit/>
          </a:bodyPr>
          <a:lstStyle/>
          <a:p>
            <a:pPr marL="285750" indent="-285750">
              <a:buFont typeface="Arial" panose="020B0604020202020204" pitchFamily="34" charset="0"/>
              <a:buChar char="•"/>
            </a:pPr>
            <a:r>
              <a:rPr lang="en-US" sz="1400" dirty="0">
                <a:solidFill>
                  <a:schemeClr val="tx2">
                    <a:lumMod val="50000"/>
                  </a:schemeClr>
                </a:solidFill>
              </a:rPr>
              <a:t>Integrated platform for on-line customer account initiation or transfer including:</a:t>
            </a:r>
          </a:p>
          <a:p>
            <a:pPr marL="628650" indent="-285750">
              <a:buFont typeface="Arial" panose="020B0604020202020204" pitchFamily="34" charset="0"/>
              <a:buChar char="•"/>
            </a:pPr>
            <a:r>
              <a:rPr lang="en-US" sz="1400" dirty="0">
                <a:solidFill>
                  <a:schemeClr val="tx2">
                    <a:lumMod val="50000"/>
                  </a:schemeClr>
                </a:solidFill>
              </a:rPr>
              <a:t>Core billing account set-up</a:t>
            </a:r>
          </a:p>
          <a:p>
            <a:pPr marL="628650" indent="-285750">
              <a:buFont typeface="Arial" panose="020B0604020202020204" pitchFamily="34" charset="0"/>
              <a:buChar char="•"/>
            </a:pPr>
            <a:r>
              <a:rPr lang="en-US" sz="1400" dirty="0">
                <a:solidFill>
                  <a:schemeClr val="tx2">
                    <a:lumMod val="50000"/>
                  </a:schemeClr>
                </a:solidFill>
              </a:rPr>
              <a:t>On-line account and portal access</a:t>
            </a:r>
          </a:p>
          <a:p>
            <a:pPr marL="628650" indent="-285750">
              <a:buFont typeface="Arial" panose="020B0604020202020204" pitchFamily="34" charset="0"/>
              <a:buChar char="•"/>
            </a:pPr>
            <a:r>
              <a:rPr lang="en-US" sz="1400" dirty="0">
                <a:solidFill>
                  <a:schemeClr val="tx2">
                    <a:lumMod val="50000"/>
                  </a:schemeClr>
                </a:solidFill>
              </a:rPr>
              <a:t>On-line bill rendering preferences</a:t>
            </a:r>
          </a:p>
          <a:p>
            <a:pPr marL="628650" indent="-285750">
              <a:buFont typeface="Arial" panose="020B0604020202020204" pitchFamily="34" charset="0"/>
              <a:buChar char="•"/>
            </a:pPr>
            <a:r>
              <a:rPr lang="en-US" sz="1400" dirty="0">
                <a:solidFill>
                  <a:schemeClr val="tx2">
                    <a:lumMod val="50000"/>
                  </a:schemeClr>
                </a:solidFill>
              </a:rPr>
              <a:t>Automated payments processing preferences</a:t>
            </a:r>
          </a:p>
        </p:txBody>
      </p:sp>
      <p:sp>
        <p:nvSpPr>
          <p:cNvPr id="5" name="TextBox 4">
            <a:extLst>
              <a:ext uri="{FF2B5EF4-FFF2-40B4-BE49-F238E27FC236}">
                <a16:creationId xmlns:a16="http://schemas.microsoft.com/office/drawing/2014/main" id="{C44179DD-BB8A-48AD-B1CF-B0D1FE1022DA}"/>
              </a:ext>
            </a:extLst>
          </p:cNvPr>
          <p:cNvSpPr txBox="1"/>
          <p:nvPr/>
        </p:nvSpPr>
        <p:spPr>
          <a:xfrm>
            <a:off x="1889086" y="790759"/>
            <a:ext cx="3598404" cy="338554"/>
          </a:xfrm>
          <a:prstGeom prst="rect">
            <a:avLst/>
          </a:prstGeom>
          <a:noFill/>
        </p:spPr>
        <p:txBody>
          <a:bodyPr wrap="square" rtlCol="0">
            <a:spAutoFit/>
          </a:bodyPr>
          <a:lstStyle/>
          <a:p>
            <a:pPr algn="ctr"/>
            <a:r>
              <a:rPr lang="en-US" sz="1600" b="1" i="1" dirty="0">
                <a:solidFill>
                  <a:schemeClr val="tx2">
                    <a:lumMod val="50000"/>
                  </a:schemeClr>
                </a:solidFill>
              </a:rPr>
              <a:t>Account Creation</a:t>
            </a:r>
          </a:p>
        </p:txBody>
      </p:sp>
      <p:cxnSp>
        <p:nvCxnSpPr>
          <p:cNvPr id="6" name="Straight Connector 5">
            <a:extLst>
              <a:ext uri="{FF2B5EF4-FFF2-40B4-BE49-F238E27FC236}">
                <a16:creationId xmlns:a16="http://schemas.microsoft.com/office/drawing/2014/main" id="{FE88C8A7-49DF-4064-BB97-B5B4099676F3}"/>
              </a:ext>
            </a:extLst>
          </p:cNvPr>
          <p:cNvCxnSpPr/>
          <p:nvPr/>
        </p:nvCxnSpPr>
        <p:spPr>
          <a:xfrm>
            <a:off x="2018623" y="1205313"/>
            <a:ext cx="3151359" cy="0"/>
          </a:xfrm>
          <a:prstGeom prst="line">
            <a:avLst/>
          </a:prstGeom>
          <a:ln/>
        </p:spPr>
        <p:style>
          <a:lnRef idx="1">
            <a:schemeClr val="dk1"/>
          </a:lnRef>
          <a:fillRef idx="0">
            <a:schemeClr val="dk1"/>
          </a:fillRef>
          <a:effectRef idx="0">
            <a:schemeClr val="dk1"/>
          </a:effectRef>
          <a:fontRef idx="minor">
            <a:schemeClr val="tx1"/>
          </a:fontRef>
        </p:style>
      </p:cxnSp>
      <p:sp>
        <p:nvSpPr>
          <p:cNvPr id="7" name="TextBox 6">
            <a:extLst>
              <a:ext uri="{FF2B5EF4-FFF2-40B4-BE49-F238E27FC236}">
                <a16:creationId xmlns:a16="http://schemas.microsoft.com/office/drawing/2014/main" id="{E1D70439-D280-4672-9818-B00B64F57B22}"/>
              </a:ext>
            </a:extLst>
          </p:cNvPr>
          <p:cNvSpPr txBox="1"/>
          <p:nvPr/>
        </p:nvSpPr>
        <p:spPr>
          <a:xfrm>
            <a:off x="217716" y="1487058"/>
            <a:ext cx="1480457" cy="738664"/>
          </a:xfrm>
          <a:prstGeom prst="rect">
            <a:avLst/>
          </a:prstGeom>
          <a:noFill/>
        </p:spPr>
        <p:txBody>
          <a:bodyPr wrap="square" rtlCol="0">
            <a:spAutoFit/>
          </a:bodyPr>
          <a:lstStyle/>
          <a:p>
            <a:pPr algn="ctr"/>
            <a:r>
              <a:rPr lang="en-US" sz="1400" b="1" dirty="0">
                <a:solidFill>
                  <a:schemeClr val="tx2">
                    <a:lumMod val="50000"/>
                  </a:schemeClr>
                </a:solidFill>
              </a:rPr>
              <a:t>Future State Capability Needs</a:t>
            </a:r>
          </a:p>
        </p:txBody>
      </p:sp>
      <p:sp>
        <p:nvSpPr>
          <p:cNvPr id="8" name="TextBox 7">
            <a:extLst>
              <a:ext uri="{FF2B5EF4-FFF2-40B4-BE49-F238E27FC236}">
                <a16:creationId xmlns:a16="http://schemas.microsoft.com/office/drawing/2014/main" id="{60B20991-56BA-41F6-B2A4-26493127E220}"/>
              </a:ext>
            </a:extLst>
          </p:cNvPr>
          <p:cNvSpPr txBox="1"/>
          <p:nvPr/>
        </p:nvSpPr>
        <p:spPr>
          <a:xfrm>
            <a:off x="5278174" y="1429331"/>
            <a:ext cx="3280896" cy="3323987"/>
          </a:xfrm>
          <a:prstGeom prst="rect">
            <a:avLst/>
          </a:prstGeom>
          <a:noFill/>
        </p:spPr>
        <p:txBody>
          <a:bodyPr wrap="square" rtlCol="0">
            <a:spAutoFit/>
          </a:bodyPr>
          <a:lstStyle/>
          <a:p>
            <a:pPr marL="285750" indent="-285750">
              <a:buFont typeface="Arial" panose="020B0604020202020204" pitchFamily="34" charset="0"/>
              <a:buChar char="•"/>
            </a:pPr>
            <a:r>
              <a:rPr lang="en-US" sz="1400" dirty="0">
                <a:solidFill>
                  <a:schemeClr val="tx2">
                    <a:lumMod val="50000"/>
                  </a:schemeClr>
                </a:solidFill>
              </a:rPr>
              <a:t>Proactive and ongoing push for customer billing and payment  channel enablement and self-service</a:t>
            </a:r>
          </a:p>
          <a:p>
            <a:pPr marL="628650" indent="-285750">
              <a:buFont typeface="Arial" panose="020B0604020202020204" pitchFamily="34" charset="0"/>
              <a:buChar char="•"/>
            </a:pPr>
            <a:r>
              <a:rPr lang="en-US" sz="1400" dirty="0">
                <a:solidFill>
                  <a:schemeClr val="tx2">
                    <a:lumMod val="50000"/>
                  </a:schemeClr>
                </a:solidFill>
              </a:rPr>
              <a:t>Bill forecasting and expectation mgmt.</a:t>
            </a:r>
          </a:p>
          <a:p>
            <a:pPr marL="628650" indent="-285750">
              <a:buFont typeface="Arial" panose="020B0604020202020204" pitchFamily="34" charset="0"/>
              <a:buChar char="•"/>
            </a:pPr>
            <a:r>
              <a:rPr lang="en-US" sz="1400" dirty="0">
                <a:solidFill>
                  <a:schemeClr val="tx2">
                    <a:lumMod val="50000"/>
                  </a:schemeClr>
                </a:solidFill>
              </a:rPr>
              <a:t>Streamlined bill/payment communications and feedback loops</a:t>
            </a:r>
          </a:p>
          <a:p>
            <a:pPr marL="628650" indent="-285750">
              <a:buFont typeface="Arial" panose="020B0604020202020204" pitchFamily="34" charset="0"/>
              <a:buChar char="•"/>
            </a:pPr>
            <a:r>
              <a:rPr lang="en-US" sz="1400" dirty="0">
                <a:solidFill>
                  <a:schemeClr val="tx2">
                    <a:lumMod val="50000"/>
                  </a:schemeClr>
                </a:solidFill>
              </a:rPr>
              <a:t>Integrated bills and payment allocations (including rebates, incentives)</a:t>
            </a:r>
          </a:p>
          <a:p>
            <a:pPr marL="628650" indent="-285750">
              <a:buFont typeface="Arial" panose="020B0604020202020204" pitchFamily="34" charset="0"/>
              <a:buChar char="•"/>
            </a:pPr>
            <a:r>
              <a:rPr lang="en-US" sz="1400" dirty="0">
                <a:solidFill>
                  <a:schemeClr val="tx2">
                    <a:lumMod val="50000"/>
                  </a:schemeClr>
                </a:solidFill>
              </a:rPr>
              <a:t>On-line bill analysis and support</a:t>
            </a:r>
          </a:p>
        </p:txBody>
      </p:sp>
      <p:sp>
        <p:nvSpPr>
          <p:cNvPr id="9" name="TextBox 8">
            <a:extLst>
              <a:ext uri="{FF2B5EF4-FFF2-40B4-BE49-F238E27FC236}">
                <a16:creationId xmlns:a16="http://schemas.microsoft.com/office/drawing/2014/main" id="{E637DF6F-FCE6-4E91-8C20-EEC91E4FCC19}"/>
              </a:ext>
            </a:extLst>
          </p:cNvPr>
          <p:cNvSpPr txBox="1"/>
          <p:nvPr/>
        </p:nvSpPr>
        <p:spPr>
          <a:xfrm>
            <a:off x="5278174" y="658424"/>
            <a:ext cx="3280896" cy="584775"/>
          </a:xfrm>
          <a:prstGeom prst="rect">
            <a:avLst/>
          </a:prstGeom>
          <a:noFill/>
        </p:spPr>
        <p:txBody>
          <a:bodyPr wrap="square" rtlCol="0">
            <a:spAutoFit/>
          </a:bodyPr>
          <a:lstStyle/>
          <a:p>
            <a:pPr algn="ctr"/>
            <a:r>
              <a:rPr lang="en-US" sz="1600" b="1" i="1" dirty="0">
                <a:solidFill>
                  <a:schemeClr val="tx2">
                    <a:lumMod val="50000"/>
                  </a:schemeClr>
                </a:solidFill>
              </a:rPr>
              <a:t>Billing &amp; Account  Servicing</a:t>
            </a:r>
          </a:p>
        </p:txBody>
      </p:sp>
      <p:cxnSp>
        <p:nvCxnSpPr>
          <p:cNvPr id="10" name="Straight Connector 9">
            <a:extLst>
              <a:ext uri="{FF2B5EF4-FFF2-40B4-BE49-F238E27FC236}">
                <a16:creationId xmlns:a16="http://schemas.microsoft.com/office/drawing/2014/main" id="{6A39C8B1-45C8-4ED5-8037-7CB743B251AB}"/>
              </a:ext>
            </a:extLst>
          </p:cNvPr>
          <p:cNvCxnSpPr/>
          <p:nvPr/>
        </p:nvCxnSpPr>
        <p:spPr>
          <a:xfrm>
            <a:off x="5407711" y="1212570"/>
            <a:ext cx="3151359" cy="0"/>
          </a:xfrm>
          <a:prstGeom prst="line">
            <a:avLst/>
          </a:prstGeom>
          <a:ln/>
        </p:spPr>
        <p:style>
          <a:lnRef idx="1">
            <a:schemeClr val="dk1"/>
          </a:lnRef>
          <a:fillRef idx="0">
            <a:schemeClr val="dk1"/>
          </a:fillRef>
          <a:effectRef idx="0">
            <a:schemeClr val="dk1"/>
          </a:effectRef>
          <a:fontRef idx="minor">
            <a:schemeClr val="tx1"/>
          </a:fontRef>
        </p:style>
      </p:cxnSp>
      <p:sp>
        <p:nvSpPr>
          <p:cNvPr id="11" name="TextBox 10">
            <a:extLst>
              <a:ext uri="{FF2B5EF4-FFF2-40B4-BE49-F238E27FC236}">
                <a16:creationId xmlns:a16="http://schemas.microsoft.com/office/drawing/2014/main" id="{02D52D9D-8DCF-4FA9-ADA3-92F5C2E73CB5}"/>
              </a:ext>
            </a:extLst>
          </p:cNvPr>
          <p:cNvSpPr txBox="1"/>
          <p:nvPr/>
        </p:nvSpPr>
        <p:spPr>
          <a:xfrm>
            <a:off x="222333" y="5269343"/>
            <a:ext cx="1480457" cy="738664"/>
          </a:xfrm>
          <a:prstGeom prst="rect">
            <a:avLst/>
          </a:prstGeom>
          <a:noFill/>
        </p:spPr>
        <p:txBody>
          <a:bodyPr wrap="square" rtlCol="0">
            <a:spAutoFit/>
          </a:bodyPr>
          <a:lstStyle/>
          <a:p>
            <a:pPr algn="ctr"/>
            <a:r>
              <a:rPr lang="en-US" sz="1400" b="1" dirty="0">
                <a:solidFill>
                  <a:schemeClr val="tx2">
                    <a:lumMod val="50000"/>
                  </a:schemeClr>
                </a:solidFill>
              </a:rPr>
              <a:t>Customer Data Implications</a:t>
            </a:r>
          </a:p>
        </p:txBody>
      </p:sp>
      <p:sp>
        <p:nvSpPr>
          <p:cNvPr id="12" name="TextBox 11">
            <a:extLst>
              <a:ext uri="{FF2B5EF4-FFF2-40B4-BE49-F238E27FC236}">
                <a16:creationId xmlns:a16="http://schemas.microsoft.com/office/drawing/2014/main" id="{785CF771-D304-477E-BFE1-B6921CB7C76A}"/>
              </a:ext>
            </a:extLst>
          </p:cNvPr>
          <p:cNvSpPr txBox="1"/>
          <p:nvPr/>
        </p:nvSpPr>
        <p:spPr>
          <a:xfrm>
            <a:off x="8630972" y="1429331"/>
            <a:ext cx="3280896" cy="954107"/>
          </a:xfrm>
          <a:prstGeom prst="rect">
            <a:avLst/>
          </a:prstGeom>
          <a:noFill/>
        </p:spPr>
        <p:txBody>
          <a:bodyPr wrap="square" rtlCol="0">
            <a:spAutoFit/>
          </a:bodyPr>
          <a:lstStyle/>
          <a:p>
            <a:pPr marL="285750" indent="-285750">
              <a:buFont typeface="Arial" panose="020B0604020202020204" pitchFamily="34" charset="0"/>
              <a:buChar char="•"/>
            </a:pPr>
            <a:r>
              <a:rPr lang="en-US" sz="1400" dirty="0">
                <a:solidFill>
                  <a:schemeClr val="tx2">
                    <a:lumMod val="50000"/>
                  </a:schemeClr>
                </a:solidFill>
              </a:rPr>
              <a:t>Integrated Billing and Payment Support across delivery including enhanced Account Manager Capabilities</a:t>
            </a:r>
          </a:p>
        </p:txBody>
      </p:sp>
      <p:sp>
        <p:nvSpPr>
          <p:cNvPr id="13" name="TextBox 12">
            <a:extLst>
              <a:ext uri="{FF2B5EF4-FFF2-40B4-BE49-F238E27FC236}">
                <a16:creationId xmlns:a16="http://schemas.microsoft.com/office/drawing/2014/main" id="{B8C0D18D-B52D-4814-A9AE-BFD9675FCADB}"/>
              </a:ext>
            </a:extLst>
          </p:cNvPr>
          <p:cNvSpPr txBox="1"/>
          <p:nvPr/>
        </p:nvSpPr>
        <p:spPr>
          <a:xfrm>
            <a:off x="8572919" y="798016"/>
            <a:ext cx="3598404" cy="338554"/>
          </a:xfrm>
          <a:prstGeom prst="rect">
            <a:avLst/>
          </a:prstGeom>
          <a:noFill/>
        </p:spPr>
        <p:txBody>
          <a:bodyPr wrap="square" rtlCol="0">
            <a:spAutoFit/>
          </a:bodyPr>
          <a:lstStyle/>
          <a:p>
            <a:pPr algn="ctr"/>
            <a:r>
              <a:rPr lang="en-US" sz="1600" b="1" i="1" dirty="0">
                <a:solidFill>
                  <a:schemeClr val="tx2">
                    <a:lumMod val="50000"/>
                  </a:schemeClr>
                </a:solidFill>
              </a:rPr>
              <a:t>C&amp;I</a:t>
            </a:r>
          </a:p>
        </p:txBody>
      </p:sp>
      <p:cxnSp>
        <p:nvCxnSpPr>
          <p:cNvPr id="14" name="Straight Connector 13">
            <a:extLst>
              <a:ext uri="{FF2B5EF4-FFF2-40B4-BE49-F238E27FC236}">
                <a16:creationId xmlns:a16="http://schemas.microsoft.com/office/drawing/2014/main" id="{7E7BEF6B-A8B5-41EE-A07A-E437C9F2D5AF}"/>
              </a:ext>
            </a:extLst>
          </p:cNvPr>
          <p:cNvCxnSpPr/>
          <p:nvPr/>
        </p:nvCxnSpPr>
        <p:spPr>
          <a:xfrm>
            <a:off x="8760509" y="1212570"/>
            <a:ext cx="3151359" cy="0"/>
          </a:xfrm>
          <a:prstGeom prst="line">
            <a:avLst/>
          </a:prstGeom>
          <a:ln/>
        </p:spPr>
        <p:style>
          <a:lnRef idx="1">
            <a:schemeClr val="dk1"/>
          </a:lnRef>
          <a:fillRef idx="0">
            <a:schemeClr val="dk1"/>
          </a:fillRef>
          <a:effectRef idx="0">
            <a:schemeClr val="dk1"/>
          </a:effectRef>
          <a:fontRef idx="minor">
            <a:schemeClr val="tx1"/>
          </a:fontRef>
        </p:style>
      </p:cxnSp>
      <p:sp>
        <p:nvSpPr>
          <p:cNvPr id="15" name="Isosceles Triangle 14">
            <a:extLst>
              <a:ext uri="{FF2B5EF4-FFF2-40B4-BE49-F238E27FC236}">
                <a16:creationId xmlns:a16="http://schemas.microsoft.com/office/drawing/2014/main" id="{FCED0097-F98B-49EC-A8C6-D2C9F364AC60}"/>
              </a:ext>
            </a:extLst>
          </p:cNvPr>
          <p:cNvSpPr/>
          <p:nvPr/>
        </p:nvSpPr>
        <p:spPr>
          <a:xfrm flipV="1">
            <a:off x="2018623" y="4899227"/>
            <a:ext cx="2872691" cy="217715"/>
          </a:xfrm>
          <a:prstGeom prst="triangl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16" name="Isosceles Triangle 15">
            <a:extLst>
              <a:ext uri="{FF2B5EF4-FFF2-40B4-BE49-F238E27FC236}">
                <a16:creationId xmlns:a16="http://schemas.microsoft.com/office/drawing/2014/main" id="{92780307-1424-46F9-BC3A-91A713F6DE75}"/>
              </a:ext>
            </a:extLst>
          </p:cNvPr>
          <p:cNvSpPr/>
          <p:nvPr/>
        </p:nvSpPr>
        <p:spPr>
          <a:xfrm flipV="1">
            <a:off x="5349652" y="4906485"/>
            <a:ext cx="2872691" cy="217715"/>
          </a:xfrm>
          <a:prstGeom prst="triangl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17" name="Isosceles Triangle 16">
            <a:extLst>
              <a:ext uri="{FF2B5EF4-FFF2-40B4-BE49-F238E27FC236}">
                <a16:creationId xmlns:a16="http://schemas.microsoft.com/office/drawing/2014/main" id="{81BB11CC-F19F-40D7-A375-2D1D6E86551D}"/>
              </a:ext>
            </a:extLst>
          </p:cNvPr>
          <p:cNvSpPr/>
          <p:nvPr/>
        </p:nvSpPr>
        <p:spPr>
          <a:xfrm flipV="1">
            <a:off x="8818570" y="4906484"/>
            <a:ext cx="2872691" cy="217715"/>
          </a:xfrm>
          <a:prstGeom prst="triangl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18" name="TextBox 17">
            <a:extLst>
              <a:ext uri="{FF2B5EF4-FFF2-40B4-BE49-F238E27FC236}">
                <a16:creationId xmlns:a16="http://schemas.microsoft.com/office/drawing/2014/main" id="{90C6F5F1-3D4A-4ED8-8E09-D710EAF1559B}"/>
              </a:ext>
            </a:extLst>
          </p:cNvPr>
          <p:cNvSpPr txBox="1"/>
          <p:nvPr/>
        </p:nvSpPr>
        <p:spPr>
          <a:xfrm>
            <a:off x="10435773" y="203198"/>
            <a:ext cx="1481496" cy="307777"/>
          </a:xfrm>
          <a:prstGeom prst="rect">
            <a:avLst/>
          </a:prstGeom>
          <a:noFill/>
        </p:spPr>
        <p:txBody>
          <a:bodyPr wrap="none" rtlCol="0">
            <a:spAutoFit/>
          </a:bodyPr>
          <a:lstStyle/>
          <a:p>
            <a:r>
              <a:rPr lang="en-US" sz="1400" i="1" dirty="0">
                <a:solidFill>
                  <a:schemeClr val="tx2">
                    <a:lumMod val="50000"/>
                  </a:schemeClr>
                </a:solidFill>
              </a:rPr>
              <a:t>For Discussion</a:t>
            </a:r>
          </a:p>
        </p:txBody>
      </p:sp>
      <p:cxnSp>
        <p:nvCxnSpPr>
          <p:cNvPr id="19" name="Straight Connector 18">
            <a:extLst>
              <a:ext uri="{FF2B5EF4-FFF2-40B4-BE49-F238E27FC236}">
                <a16:creationId xmlns:a16="http://schemas.microsoft.com/office/drawing/2014/main" id="{89F4A7D1-E8DD-40B4-A076-DAC6931EE675}"/>
              </a:ext>
            </a:extLst>
          </p:cNvPr>
          <p:cNvCxnSpPr/>
          <p:nvPr/>
        </p:nvCxnSpPr>
        <p:spPr>
          <a:xfrm>
            <a:off x="10406742" y="203198"/>
            <a:ext cx="1429667" cy="0"/>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8DA1BA0E-3E77-40E1-B0E5-EDFA99BF24F5}"/>
              </a:ext>
            </a:extLst>
          </p:cNvPr>
          <p:cNvCxnSpPr/>
          <p:nvPr/>
        </p:nvCxnSpPr>
        <p:spPr>
          <a:xfrm>
            <a:off x="10428516" y="500738"/>
            <a:ext cx="1429667" cy="0"/>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1729200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heme/theme1.xml><?xml version="1.0" encoding="utf-8"?>
<a:theme xmlns:a="http://schemas.openxmlformats.org/drawingml/2006/main" name="2013 Capgemini Template">
  <a:themeElements>
    <a:clrScheme name="Custom 13">
      <a:dk1>
        <a:srgbClr val="000000"/>
      </a:dk1>
      <a:lt1>
        <a:sysClr val="window" lastClr="FFFFFF"/>
      </a:lt1>
      <a:dk2>
        <a:srgbClr val="0070AD"/>
      </a:dk2>
      <a:lt2>
        <a:srgbClr val="EDEDED"/>
      </a:lt2>
      <a:accent1>
        <a:srgbClr val="80B8D6"/>
      </a:accent1>
      <a:accent2>
        <a:srgbClr val="12ABDB"/>
      </a:accent2>
      <a:accent3>
        <a:srgbClr val="431060"/>
      </a:accent3>
      <a:accent4>
        <a:srgbClr val="FF304C"/>
      </a:accent4>
      <a:accent5>
        <a:srgbClr val="8EC63E"/>
      </a:accent5>
      <a:accent6>
        <a:srgbClr val="0F999C"/>
      </a:accent6>
      <a:hlink>
        <a:srgbClr val="005481"/>
      </a:hlink>
      <a:folHlink>
        <a:srgbClr val="861763"/>
      </a:folHlink>
    </a:clrScheme>
    <a:fontScheme name="Custom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ontent Layouts">
  <a:themeElements>
    <a:clrScheme name="Custom 16">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C2CF00"/>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defRPr sz="14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Capgemini 2017" id="{9B3BBDC0-3519-4852-B640-78F21BC104E4}" vid="{E670DD4E-0851-4692-AA31-B3BB041B0B0E}"/>
    </a:ext>
  </a:extLst>
</a:theme>
</file>

<file path=ppt/theme/theme3.xml><?xml version="1.0" encoding="utf-8"?>
<a:theme xmlns:a="http://schemas.openxmlformats.org/drawingml/2006/main" name="3_2013 Capgemini Template">
  <a:themeElements>
    <a:clrScheme name="Custom 13">
      <a:dk1>
        <a:srgbClr val="000000"/>
      </a:dk1>
      <a:lt1>
        <a:sysClr val="window" lastClr="FFFFFF"/>
      </a:lt1>
      <a:dk2>
        <a:srgbClr val="0070AD"/>
      </a:dk2>
      <a:lt2>
        <a:srgbClr val="EDEDED"/>
      </a:lt2>
      <a:accent1>
        <a:srgbClr val="80B8D6"/>
      </a:accent1>
      <a:accent2>
        <a:srgbClr val="12ABDB"/>
      </a:accent2>
      <a:accent3>
        <a:srgbClr val="431060"/>
      </a:accent3>
      <a:accent4>
        <a:srgbClr val="FF304C"/>
      </a:accent4>
      <a:accent5>
        <a:srgbClr val="8EC63E"/>
      </a:accent5>
      <a:accent6>
        <a:srgbClr val="0F999C"/>
      </a:accent6>
      <a:hlink>
        <a:srgbClr val="005481"/>
      </a:hlink>
      <a:folHlink>
        <a:srgbClr val="861763"/>
      </a:folHlink>
    </a:clrScheme>
    <a:fontScheme name="Custom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xml><?xml version="1.0" encoding="utf-8"?>
<a:theme xmlns:a="http://schemas.openxmlformats.org/drawingml/2006/main" name="4_2013 Capgemini Template">
  <a:themeElements>
    <a:clrScheme name="Custom 13">
      <a:dk1>
        <a:srgbClr val="000000"/>
      </a:dk1>
      <a:lt1>
        <a:sysClr val="window" lastClr="FFFFFF"/>
      </a:lt1>
      <a:dk2>
        <a:srgbClr val="0070AD"/>
      </a:dk2>
      <a:lt2>
        <a:srgbClr val="EDEDED"/>
      </a:lt2>
      <a:accent1>
        <a:srgbClr val="80B8D6"/>
      </a:accent1>
      <a:accent2>
        <a:srgbClr val="12ABDB"/>
      </a:accent2>
      <a:accent3>
        <a:srgbClr val="431060"/>
      </a:accent3>
      <a:accent4>
        <a:srgbClr val="FF304C"/>
      </a:accent4>
      <a:accent5>
        <a:srgbClr val="8EC63E"/>
      </a:accent5>
      <a:accent6>
        <a:srgbClr val="0F999C"/>
      </a:accent6>
      <a:hlink>
        <a:srgbClr val="005481"/>
      </a:hlink>
      <a:folHlink>
        <a:srgbClr val="861763"/>
      </a:folHlink>
    </a:clrScheme>
    <a:fontScheme name="Custom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5_2013 Capgemini Template">
  <a:themeElements>
    <a:clrScheme name="Custom 13">
      <a:dk1>
        <a:srgbClr val="000000"/>
      </a:dk1>
      <a:lt1>
        <a:sysClr val="window" lastClr="FFFFFF"/>
      </a:lt1>
      <a:dk2>
        <a:srgbClr val="0070AD"/>
      </a:dk2>
      <a:lt2>
        <a:srgbClr val="EDEDED"/>
      </a:lt2>
      <a:accent1>
        <a:srgbClr val="80B8D6"/>
      </a:accent1>
      <a:accent2>
        <a:srgbClr val="12ABDB"/>
      </a:accent2>
      <a:accent3>
        <a:srgbClr val="431060"/>
      </a:accent3>
      <a:accent4>
        <a:srgbClr val="FF304C"/>
      </a:accent4>
      <a:accent5>
        <a:srgbClr val="8EC63E"/>
      </a:accent5>
      <a:accent6>
        <a:srgbClr val="0F999C"/>
      </a:accent6>
      <a:hlink>
        <a:srgbClr val="005481"/>
      </a:hlink>
      <a:folHlink>
        <a:srgbClr val="861763"/>
      </a:folHlink>
    </a:clrScheme>
    <a:fontScheme name="Custom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D814DA5F416B746A8EA65D54AAFDDB2" ma:contentTypeVersion="13" ma:contentTypeDescription="Create a new document." ma:contentTypeScope="" ma:versionID="b451d0098be78988475a91eabc2e14d3">
  <xsd:schema xmlns:xsd="http://www.w3.org/2001/XMLSchema" xmlns:xs="http://www.w3.org/2001/XMLSchema" xmlns:p="http://schemas.microsoft.com/office/2006/metadata/properties" xmlns:ns3="9bf94932-3bda-4099-a7fc-3f31126e762e" xmlns:ns4="94382390-4853-4b4f-adec-2094fe08a97c" targetNamespace="http://schemas.microsoft.com/office/2006/metadata/properties" ma:root="true" ma:fieldsID="4ebdc0af74a821775c888678ab6e34fa" ns3:_="" ns4:_="">
    <xsd:import namespace="9bf94932-3bda-4099-a7fc-3f31126e762e"/>
    <xsd:import namespace="94382390-4853-4b4f-adec-2094fe08a97c"/>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OCR" minOccurs="0"/>
                <xsd:element ref="ns3:MediaServiceEventHashCode" minOccurs="0"/>
                <xsd:element ref="ns3:MediaServiceGenerationTime" minOccurs="0"/>
                <xsd:element ref="ns3:MediaServiceLocation" minOccurs="0"/>
                <xsd:element ref="ns4:SharedWithUsers" minOccurs="0"/>
                <xsd:element ref="ns4:SharedWithDetails" minOccurs="0"/>
                <xsd:element ref="ns4:SharingHintHash"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bf94932-3bda-4099-a7fc-3f31126e762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94382390-4853-4b4f-adec-2094fe08a97c"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SharingHintHash" ma:index="18"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8E4741EA-33F9-47BC-9582-10B3BE6562B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bf94932-3bda-4099-a7fc-3f31126e762e"/>
    <ds:schemaRef ds:uri="94382390-4853-4b4f-adec-2094fe08a97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1A4ED86-E5A7-4AB0-B290-F91F34A3DBCC}">
  <ds:schemaRefs>
    <ds:schemaRef ds:uri="http://schemas.microsoft.com/sharepoint/v3/contenttype/forms"/>
  </ds:schemaRefs>
</ds:datastoreItem>
</file>

<file path=customXml/itemProps3.xml><?xml version="1.0" encoding="utf-8"?>
<ds:datastoreItem xmlns:ds="http://schemas.openxmlformats.org/officeDocument/2006/customXml" ds:itemID="{F128ED2F-ABE9-4CC9-9AB8-9657000A1229}">
  <ds:schemaRefs>
    <ds:schemaRef ds:uri="http://schemas.microsoft.com/office/infopath/2007/PartnerControls"/>
    <ds:schemaRef ds:uri="94382390-4853-4b4f-adec-2094fe08a97c"/>
    <ds:schemaRef ds:uri="http://purl.org/dc/terms/"/>
    <ds:schemaRef ds:uri="9bf94932-3bda-4099-a7fc-3f31126e762e"/>
    <ds:schemaRef ds:uri="http://schemas.microsoft.com/office/2006/documentManagement/types"/>
    <ds:schemaRef ds:uri="http://schemas.openxmlformats.org/package/2006/metadata/core-properties"/>
    <ds:schemaRef ds:uri="http://purl.org/dc/elements/1.1/"/>
    <ds:schemaRef ds:uri="http://schemas.microsoft.com/office/2006/metadata/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2013 Capgemini Template</Template>
  <TotalTime>42510</TotalTime>
  <Words>1010</Words>
  <Application>Microsoft Office PowerPoint</Application>
  <PresentationFormat>Widescreen</PresentationFormat>
  <Paragraphs>220</Paragraphs>
  <Slides>11</Slides>
  <Notes>4</Notes>
  <HiddenSlides>0</HiddenSlides>
  <MMClips>0</MMClips>
  <ScaleCrop>false</ScaleCrop>
  <HeadingPairs>
    <vt:vector size="8" baseType="variant">
      <vt:variant>
        <vt:lpstr>Fonts Used</vt:lpstr>
      </vt:variant>
      <vt:variant>
        <vt:i4>5</vt:i4>
      </vt:variant>
      <vt:variant>
        <vt:lpstr>Theme</vt:lpstr>
      </vt:variant>
      <vt:variant>
        <vt:i4>5</vt:i4>
      </vt:variant>
      <vt:variant>
        <vt:lpstr>Embedded OLE Servers</vt:lpstr>
      </vt:variant>
      <vt:variant>
        <vt:i4>1</vt:i4>
      </vt:variant>
      <vt:variant>
        <vt:lpstr>Slide Titles</vt:lpstr>
      </vt:variant>
      <vt:variant>
        <vt:i4>11</vt:i4>
      </vt:variant>
    </vt:vector>
  </HeadingPairs>
  <TitlesOfParts>
    <vt:vector size="22" baseType="lpstr">
      <vt:lpstr>Arial</vt:lpstr>
      <vt:lpstr>Calibri</vt:lpstr>
      <vt:lpstr>Courier New</vt:lpstr>
      <vt:lpstr>Verdana</vt:lpstr>
      <vt:lpstr>Wingdings</vt:lpstr>
      <vt:lpstr>2013 Capgemini Template</vt:lpstr>
      <vt:lpstr>Content Layouts</vt:lpstr>
      <vt:lpstr>3_2013 Capgemini Template</vt:lpstr>
      <vt:lpstr>4_2013 Capgemini Template</vt:lpstr>
      <vt:lpstr>5_2013 Capgemini Template</vt:lpstr>
      <vt:lpstr>think-cell Slide</vt:lpstr>
      <vt:lpstr>PowerPoint Presentation</vt:lpstr>
      <vt:lpstr>Agenda – Billing Operations &amp; AMO Discovery </vt:lpstr>
      <vt:lpstr>Billing Operations &amp; AMO – Journey Segments</vt:lpstr>
      <vt:lpstr>Billing Operations &amp; AMO – Targeted Outcomes (from Capabilities/Pain Points)</vt:lpstr>
      <vt:lpstr>Billing Operations &amp; AMO – Targeted Outcomes (from Capabilities/Pain Points)</vt:lpstr>
      <vt:lpstr>PowerPoint Presentation</vt:lpstr>
      <vt:lpstr>Master Data Flows</vt:lpstr>
      <vt:lpstr>Data Flow Challenges – Billing Operations &amp; Account Management?</vt:lpstr>
      <vt:lpstr>Future Systems &amp; Data Implications</vt:lpstr>
      <vt:lpstr>Data Flows</vt:lpstr>
      <vt:lpstr>Notes</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4 HANA Assessment - Delivery Approach</dc:title>
  <dc:creator>David Williams</dc:creator>
  <cp:lastModifiedBy>Robinson Jr, Robert E</cp:lastModifiedBy>
  <cp:revision>450</cp:revision>
  <cp:lastPrinted>2018-12-12T14:22:06Z</cp:lastPrinted>
  <dcterms:created xsi:type="dcterms:W3CDTF">2013-01-23T20:29:14Z</dcterms:created>
  <dcterms:modified xsi:type="dcterms:W3CDTF">2020-07-08T11:54: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D814DA5F416B746A8EA65D54AAFDDB2</vt:lpwstr>
  </property>
</Properties>
</file>